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81" r:id="rId1"/>
  </p:sldMasterIdLst>
  <p:notesMasterIdLst>
    <p:notesMasterId r:id="rId28"/>
  </p:notesMasterIdLst>
  <p:sldIdLst>
    <p:sldId id="261" r:id="rId2"/>
    <p:sldId id="272" r:id="rId3"/>
    <p:sldId id="279" r:id="rId4"/>
    <p:sldId id="280" r:id="rId5"/>
    <p:sldId id="281" r:id="rId6"/>
    <p:sldId id="282" r:id="rId7"/>
    <p:sldId id="283" r:id="rId8"/>
    <p:sldId id="284" r:id="rId9"/>
    <p:sldId id="267" r:id="rId10"/>
    <p:sldId id="275" r:id="rId11"/>
    <p:sldId id="285" r:id="rId12"/>
    <p:sldId id="286" r:id="rId13"/>
    <p:sldId id="287" r:id="rId14"/>
    <p:sldId id="288" r:id="rId15"/>
    <p:sldId id="289" r:id="rId16"/>
    <p:sldId id="290" r:id="rId17"/>
    <p:sldId id="291" r:id="rId18"/>
    <p:sldId id="292" r:id="rId19"/>
    <p:sldId id="293" r:id="rId20"/>
    <p:sldId id="294" r:id="rId21"/>
    <p:sldId id="295" r:id="rId22"/>
    <p:sldId id="296" r:id="rId23"/>
    <p:sldId id="297" r:id="rId24"/>
    <p:sldId id="298" r:id="rId25"/>
    <p:sldId id="299" r:id="rId26"/>
    <p:sldId id="277" r:id="rId27"/>
  </p:sldIdLst>
  <p:sldSz cx="9144000" cy="5143500" type="screen16x9"/>
  <p:notesSz cx="6858000" cy="9144000"/>
  <p:embeddedFontLst>
    <p:embeddedFont>
      <p:font typeface="Caveat" panose="00000500000000000000" pitchFamily="2" charset="0"/>
      <p:regular r:id="rId29"/>
      <p:bold r:id="rId30"/>
    </p:embeddedFont>
    <p:embeddedFont>
      <p:font typeface="Open Sans" panose="020B0606030504020204" pitchFamily="34" charset="0"/>
      <p:regular r:id="rId31"/>
      <p:bold r:id="rId32"/>
      <p:italic r:id="rId33"/>
      <p:boldItalic r:id="rId34"/>
    </p:embeddedFont>
    <p:embeddedFont>
      <p:font typeface="Overpass" panose="020B0604020202020204" charset="0"/>
      <p:regular r:id="rId35"/>
      <p:bold r:id="rId36"/>
      <p:italic r:id="rId37"/>
      <p:boldItalic r:id="rId38"/>
    </p:embeddedFont>
  </p:embeddedFontLst>
  <p:custDataLst>
    <p:tags r:id="rId3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639068-6E70-497A-814B-B5DC99DC97ED}" v="242" dt="2022-11-02T10:27:14.9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8" d="100"/>
          <a:sy n="118" d="100"/>
        </p:scale>
        <p:origin x="31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font" Target="fonts/font6.fntdata"/><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font" Target="fonts/font8.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3.fntdata"/><Relationship Id="rId44"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5.fntdata"/><Relationship Id="rId38" Type="http://schemas.openxmlformats.org/officeDocument/2006/relationships/font" Target="fonts/font10.fntdata"/><Relationship Id="rId20" Type="http://schemas.openxmlformats.org/officeDocument/2006/relationships/slide" Target="slides/slide19.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iter, Timothy" userId="d05d3a43-c08b-4bf4-957b-eacc6ecc84fa" providerId="ADAL" clId="{B5639068-6E70-497A-814B-B5DC99DC97ED}"/>
    <pc:docChg chg="undo custSel addSld delSld modSld sldOrd delMainMaster modMainMaster replTag">
      <pc:chgData name="Ziter, Timothy" userId="d05d3a43-c08b-4bf4-957b-eacc6ecc84fa" providerId="ADAL" clId="{B5639068-6E70-497A-814B-B5DC99DC97ED}" dt="2022-11-02T10:27:12.344" v="4070"/>
      <pc:docMkLst>
        <pc:docMk/>
      </pc:docMkLst>
      <pc:sldChg chg="del modNotes">
        <pc:chgData name="Ziter, Timothy" userId="d05d3a43-c08b-4bf4-957b-eacc6ecc84fa" providerId="ADAL" clId="{B5639068-6E70-497A-814B-B5DC99DC97ED}" dt="2022-11-02T10:24:46.937" v="4014" actId="47"/>
        <pc:sldMkLst>
          <pc:docMk/>
          <pc:sldMk cId="0" sldId="256"/>
        </pc:sldMkLst>
      </pc:sldChg>
      <pc:sldChg chg="del">
        <pc:chgData name="Ziter, Timothy" userId="d05d3a43-c08b-4bf4-957b-eacc6ecc84fa" providerId="ADAL" clId="{B5639068-6E70-497A-814B-B5DC99DC97ED}" dt="2022-11-01T21:50:28.882" v="0" actId="2696"/>
        <pc:sldMkLst>
          <pc:docMk/>
          <pc:sldMk cId="0" sldId="257"/>
        </pc:sldMkLst>
      </pc:sldChg>
      <pc:sldChg chg="del modNotes">
        <pc:chgData name="Ziter, Timothy" userId="d05d3a43-c08b-4bf4-957b-eacc6ecc84fa" providerId="ADAL" clId="{B5639068-6E70-497A-814B-B5DC99DC97ED}" dt="2022-11-02T10:25:32.137" v="4020" actId="47"/>
        <pc:sldMkLst>
          <pc:docMk/>
          <pc:sldMk cId="0" sldId="258"/>
        </pc:sldMkLst>
      </pc:sldChg>
      <pc:sldChg chg="del modNotes">
        <pc:chgData name="Ziter, Timothy" userId="d05d3a43-c08b-4bf4-957b-eacc6ecc84fa" providerId="ADAL" clId="{B5639068-6E70-497A-814B-B5DC99DC97ED}" dt="2022-11-02T10:25:15.889" v="4019" actId="47"/>
        <pc:sldMkLst>
          <pc:docMk/>
          <pc:sldMk cId="0" sldId="259"/>
        </pc:sldMkLst>
      </pc:sldChg>
      <pc:sldChg chg="del modNotes">
        <pc:chgData name="Ziter, Timothy" userId="d05d3a43-c08b-4bf4-957b-eacc6ecc84fa" providerId="ADAL" clId="{B5639068-6E70-497A-814B-B5DC99DC97ED}" dt="2022-11-02T10:24:52.551" v="4015" actId="47"/>
        <pc:sldMkLst>
          <pc:docMk/>
          <pc:sldMk cId="0" sldId="260"/>
        </pc:sldMkLst>
      </pc:sldChg>
      <pc:sldChg chg="addSp delSp modSp mod ord modNotes">
        <pc:chgData name="Ziter, Timothy" userId="d05d3a43-c08b-4bf4-957b-eacc6ecc84fa" providerId="ADAL" clId="{B5639068-6E70-497A-814B-B5DC99DC97ED}" dt="2022-11-01T21:53:21.084" v="62" actId="20577"/>
        <pc:sldMkLst>
          <pc:docMk/>
          <pc:sldMk cId="0" sldId="261"/>
        </pc:sldMkLst>
        <pc:spChg chg="del">
          <ac:chgData name="Ziter, Timothy" userId="d05d3a43-c08b-4bf4-957b-eacc6ecc84fa" providerId="ADAL" clId="{B5639068-6E70-497A-814B-B5DC99DC97ED}" dt="2022-11-01T21:51:13.082" v="6" actId="931"/>
          <ac:spMkLst>
            <pc:docMk/>
            <pc:sldMk cId="0" sldId="261"/>
            <ac:spMk id="284" creationId="{00000000-0000-0000-0000-000000000000}"/>
          </ac:spMkLst>
        </pc:spChg>
        <pc:spChg chg="mod">
          <ac:chgData name="Ziter, Timothy" userId="d05d3a43-c08b-4bf4-957b-eacc6ecc84fa" providerId="ADAL" clId="{B5639068-6E70-497A-814B-B5DC99DC97ED}" dt="2022-11-01T21:53:21.084" v="62" actId="20577"/>
          <ac:spMkLst>
            <pc:docMk/>
            <pc:sldMk cId="0" sldId="261"/>
            <ac:spMk id="285" creationId="{00000000-0000-0000-0000-000000000000}"/>
          </ac:spMkLst>
        </pc:spChg>
        <pc:spChg chg="mod">
          <ac:chgData name="Ziter, Timothy" userId="d05d3a43-c08b-4bf4-957b-eacc6ecc84fa" providerId="ADAL" clId="{B5639068-6E70-497A-814B-B5DC99DC97ED}" dt="2022-11-01T21:51:42.867" v="54" actId="20577"/>
          <ac:spMkLst>
            <pc:docMk/>
            <pc:sldMk cId="0" sldId="261"/>
            <ac:spMk id="286" creationId="{00000000-0000-0000-0000-000000000000}"/>
          </ac:spMkLst>
        </pc:spChg>
        <pc:spChg chg="del">
          <ac:chgData name="Ziter, Timothy" userId="d05d3a43-c08b-4bf4-957b-eacc6ecc84fa" providerId="ADAL" clId="{B5639068-6E70-497A-814B-B5DC99DC97ED}" dt="2022-11-01T21:52:00.725" v="57" actId="478"/>
          <ac:spMkLst>
            <pc:docMk/>
            <pc:sldMk cId="0" sldId="261"/>
            <ac:spMk id="287" creationId="{00000000-0000-0000-0000-000000000000}"/>
          </ac:spMkLst>
        </pc:spChg>
        <pc:spChg chg="del">
          <ac:chgData name="Ziter, Timothy" userId="d05d3a43-c08b-4bf4-957b-eacc6ecc84fa" providerId="ADAL" clId="{B5639068-6E70-497A-814B-B5DC99DC97ED}" dt="2022-11-01T21:52:04.662" v="58" actId="478"/>
          <ac:spMkLst>
            <pc:docMk/>
            <pc:sldMk cId="0" sldId="261"/>
            <ac:spMk id="289" creationId="{00000000-0000-0000-0000-000000000000}"/>
          </ac:spMkLst>
        </pc:spChg>
        <pc:spChg chg="del">
          <ac:chgData name="Ziter, Timothy" userId="d05d3a43-c08b-4bf4-957b-eacc6ecc84fa" providerId="ADAL" clId="{B5639068-6E70-497A-814B-B5DC99DC97ED}" dt="2022-11-01T21:51:47.786" v="55" actId="478"/>
          <ac:spMkLst>
            <pc:docMk/>
            <pc:sldMk cId="0" sldId="261"/>
            <ac:spMk id="290" creationId="{00000000-0000-0000-0000-000000000000}"/>
          </ac:spMkLst>
        </pc:spChg>
        <pc:picChg chg="add mod">
          <ac:chgData name="Ziter, Timothy" userId="d05d3a43-c08b-4bf4-957b-eacc6ecc84fa" providerId="ADAL" clId="{B5639068-6E70-497A-814B-B5DC99DC97ED}" dt="2022-11-01T21:51:20.880" v="7" actId="27614"/>
          <ac:picMkLst>
            <pc:docMk/>
            <pc:sldMk cId="0" sldId="261"/>
            <ac:picMk id="3" creationId="{8B94A867-BC0C-481F-8690-EFEBE672A2CD}"/>
          </ac:picMkLst>
        </pc:picChg>
        <pc:picChg chg="del">
          <ac:chgData name="Ziter, Timothy" userId="d05d3a43-c08b-4bf4-957b-eacc6ecc84fa" providerId="ADAL" clId="{B5639068-6E70-497A-814B-B5DC99DC97ED}" dt="2022-11-01T21:51:59.982" v="56" actId="478"/>
          <ac:picMkLst>
            <pc:docMk/>
            <pc:sldMk cId="0" sldId="261"/>
            <ac:picMk id="288" creationId="{00000000-0000-0000-0000-000000000000}"/>
          </ac:picMkLst>
        </pc:picChg>
      </pc:sldChg>
      <pc:sldChg chg="del modNotes">
        <pc:chgData name="Ziter, Timothy" userId="d05d3a43-c08b-4bf4-957b-eacc6ecc84fa" providerId="ADAL" clId="{B5639068-6E70-497A-814B-B5DC99DC97ED}" dt="2022-11-02T10:24:52.551" v="4015" actId="47"/>
        <pc:sldMkLst>
          <pc:docMk/>
          <pc:sldMk cId="0" sldId="262"/>
        </pc:sldMkLst>
      </pc:sldChg>
      <pc:sldChg chg="del modNotes">
        <pc:chgData name="Ziter, Timothy" userId="d05d3a43-c08b-4bf4-957b-eacc6ecc84fa" providerId="ADAL" clId="{B5639068-6E70-497A-814B-B5DC99DC97ED}" dt="2022-11-02T10:24:52.551" v="4015" actId="47"/>
        <pc:sldMkLst>
          <pc:docMk/>
          <pc:sldMk cId="0" sldId="263"/>
        </pc:sldMkLst>
      </pc:sldChg>
      <pc:sldChg chg="del modNotes">
        <pc:chgData name="Ziter, Timothy" userId="d05d3a43-c08b-4bf4-957b-eacc6ecc84fa" providerId="ADAL" clId="{B5639068-6E70-497A-814B-B5DC99DC97ED}" dt="2022-11-02T10:24:52.551" v="4015" actId="47"/>
        <pc:sldMkLst>
          <pc:docMk/>
          <pc:sldMk cId="0" sldId="264"/>
        </pc:sldMkLst>
      </pc:sldChg>
      <pc:sldChg chg="del modNotes">
        <pc:chgData name="Ziter, Timothy" userId="d05d3a43-c08b-4bf4-957b-eacc6ecc84fa" providerId="ADAL" clId="{B5639068-6E70-497A-814B-B5DC99DC97ED}" dt="2022-11-02T10:24:58.598" v="4016" actId="47"/>
        <pc:sldMkLst>
          <pc:docMk/>
          <pc:sldMk cId="0" sldId="265"/>
        </pc:sldMkLst>
      </pc:sldChg>
      <pc:sldChg chg="del modNotes">
        <pc:chgData name="Ziter, Timothy" userId="d05d3a43-c08b-4bf4-957b-eacc6ecc84fa" providerId="ADAL" clId="{B5639068-6E70-497A-814B-B5DC99DC97ED}" dt="2022-11-02T10:24:58.598" v="4016" actId="47"/>
        <pc:sldMkLst>
          <pc:docMk/>
          <pc:sldMk cId="0" sldId="266"/>
        </pc:sldMkLst>
      </pc:sldChg>
      <pc:sldChg chg="addSp modSp mod ord modNotes">
        <pc:chgData name="Ziter, Timothy" userId="d05d3a43-c08b-4bf4-957b-eacc6ecc84fa" providerId="ADAL" clId="{B5639068-6E70-497A-814B-B5DC99DC97ED}" dt="2022-11-01T22:16:38.212" v="751"/>
        <pc:sldMkLst>
          <pc:docMk/>
          <pc:sldMk cId="0" sldId="267"/>
        </pc:sldMkLst>
        <pc:spChg chg="mod">
          <ac:chgData name="Ziter, Timothy" userId="d05d3a43-c08b-4bf4-957b-eacc6ecc84fa" providerId="ADAL" clId="{B5639068-6E70-497A-814B-B5DC99DC97ED}" dt="2022-11-01T22:16:37.715" v="748" actId="20577"/>
          <ac:spMkLst>
            <pc:docMk/>
            <pc:sldMk cId="0" sldId="267"/>
            <ac:spMk id="367" creationId="{00000000-0000-0000-0000-000000000000}"/>
          </ac:spMkLst>
        </pc:spChg>
        <pc:graphicFrameChg chg="add mod ord modVis replST">
          <ac:chgData name="Ziter, Timothy" userId="d05d3a43-c08b-4bf4-957b-eacc6ecc84fa" providerId="ADAL" clId="{B5639068-6E70-497A-814B-B5DC99DC97ED}" dt="2022-11-01T22:16:38.212" v="751"/>
          <ac:graphicFrameMkLst>
            <pc:docMk/>
            <pc:sldMk cId="0" sldId="267"/>
            <ac:graphicFrameMk id="2" creationId="{66033AF3-8D5E-42C6-992A-F15A4B34BE77}"/>
          </ac:graphicFrameMkLst>
        </pc:graphicFrameChg>
      </pc:sldChg>
      <pc:sldChg chg="del modNotes">
        <pc:chgData name="Ziter, Timothy" userId="d05d3a43-c08b-4bf4-957b-eacc6ecc84fa" providerId="ADAL" clId="{B5639068-6E70-497A-814B-B5DC99DC97ED}" dt="2022-11-02T10:24:58.598" v="4016" actId="47"/>
        <pc:sldMkLst>
          <pc:docMk/>
          <pc:sldMk cId="0" sldId="268"/>
        </pc:sldMkLst>
      </pc:sldChg>
      <pc:sldChg chg="del modNotes">
        <pc:chgData name="Ziter, Timothy" userId="d05d3a43-c08b-4bf4-957b-eacc6ecc84fa" providerId="ADAL" clId="{B5639068-6E70-497A-814B-B5DC99DC97ED}" dt="2022-11-02T10:24:58.598" v="4016" actId="47"/>
        <pc:sldMkLst>
          <pc:docMk/>
          <pc:sldMk cId="0" sldId="269"/>
        </pc:sldMkLst>
      </pc:sldChg>
      <pc:sldChg chg="del modNotes">
        <pc:chgData name="Ziter, Timothy" userId="d05d3a43-c08b-4bf4-957b-eacc6ecc84fa" providerId="ADAL" clId="{B5639068-6E70-497A-814B-B5DC99DC97ED}" dt="2022-11-02T10:25:03.703" v="4017" actId="47"/>
        <pc:sldMkLst>
          <pc:docMk/>
          <pc:sldMk cId="0" sldId="270"/>
        </pc:sldMkLst>
      </pc:sldChg>
      <pc:sldChg chg="del modNotes">
        <pc:chgData name="Ziter, Timothy" userId="d05d3a43-c08b-4bf4-957b-eacc6ecc84fa" providerId="ADAL" clId="{B5639068-6E70-497A-814B-B5DC99DC97ED}" dt="2022-11-02T10:25:03.703" v="4017" actId="47"/>
        <pc:sldMkLst>
          <pc:docMk/>
          <pc:sldMk cId="0" sldId="271"/>
        </pc:sldMkLst>
      </pc:sldChg>
      <pc:sldChg chg="addSp delSp modSp mod ord modNotes">
        <pc:chgData name="Ziter, Timothy" userId="d05d3a43-c08b-4bf4-957b-eacc6ecc84fa" providerId="ADAL" clId="{B5639068-6E70-497A-814B-B5DC99DC97ED}" dt="2022-11-01T21:57:37.443" v="162" actId="1076"/>
        <pc:sldMkLst>
          <pc:docMk/>
          <pc:sldMk cId="0" sldId="272"/>
        </pc:sldMkLst>
        <pc:spChg chg="add mod">
          <ac:chgData name="Ziter, Timothy" userId="d05d3a43-c08b-4bf4-957b-eacc6ecc84fa" providerId="ADAL" clId="{B5639068-6E70-497A-814B-B5DC99DC97ED}" dt="2022-11-01T21:56:15.133" v="147" actId="1076"/>
          <ac:spMkLst>
            <pc:docMk/>
            <pc:sldMk cId="0" sldId="272"/>
            <ac:spMk id="13" creationId="{A248E514-09E1-41DA-BA3D-93BE74547308}"/>
          </ac:spMkLst>
        </pc:spChg>
        <pc:spChg chg="add mod">
          <ac:chgData name="Ziter, Timothy" userId="d05d3a43-c08b-4bf4-957b-eacc6ecc84fa" providerId="ADAL" clId="{B5639068-6E70-497A-814B-B5DC99DC97ED}" dt="2022-11-01T21:57:06.074" v="156" actId="1076"/>
          <ac:spMkLst>
            <pc:docMk/>
            <pc:sldMk cId="0" sldId="272"/>
            <ac:spMk id="17" creationId="{917056D2-E4ED-4344-A14B-C1009CC68A12}"/>
          </ac:spMkLst>
        </pc:spChg>
        <pc:spChg chg="add del mod">
          <ac:chgData name="Ziter, Timothy" userId="d05d3a43-c08b-4bf4-957b-eacc6ecc84fa" providerId="ADAL" clId="{B5639068-6E70-497A-814B-B5DC99DC97ED}" dt="2022-11-01T21:57:23.754" v="157" actId="478"/>
          <ac:spMkLst>
            <pc:docMk/>
            <pc:sldMk cId="0" sldId="272"/>
            <ac:spMk id="18" creationId="{95DFE730-84CA-469F-B395-0FF0E09553B9}"/>
          </ac:spMkLst>
        </pc:spChg>
        <pc:spChg chg="mod">
          <ac:chgData name="Ziter, Timothy" userId="d05d3a43-c08b-4bf4-957b-eacc6ecc84fa" providerId="ADAL" clId="{B5639068-6E70-497A-814B-B5DC99DC97ED}" dt="2022-11-01T21:55:44.224" v="145" actId="20577"/>
          <ac:spMkLst>
            <pc:docMk/>
            <pc:sldMk cId="0" sldId="272"/>
            <ac:spMk id="404" creationId="{00000000-0000-0000-0000-000000000000}"/>
          </ac:spMkLst>
        </pc:spChg>
        <pc:spChg chg="mod">
          <ac:chgData name="Ziter, Timothy" userId="d05d3a43-c08b-4bf4-957b-eacc6ecc84fa" providerId="ADAL" clId="{B5639068-6E70-497A-814B-B5DC99DC97ED}" dt="2022-11-01T21:54:26.952" v="78" actId="20577"/>
          <ac:spMkLst>
            <pc:docMk/>
            <pc:sldMk cId="0" sldId="272"/>
            <ac:spMk id="405" creationId="{00000000-0000-0000-0000-000000000000}"/>
          </ac:spMkLst>
        </pc:spChg>
        <pc:graphicFrameChg chg="add mod ord modVis replST">
          <ac:chgData name="Ziter, Timothy" userId="d05d3a43-c08b-4bf4-957b-eacc6ecc84fa" providerId="ADAL" clId="{B5639068-6E70-497A-814B-B5DC99DC97ED}" dt="2022-11-01T21:54:27.878" v="95"/>
          <ac:graphicFrameMkLst>
            <pc:docMk/>
            <pc:sldMk cId="0" sldId="272"/>
            <ac:graphicFrameMk id="2" creationId="{E8A453E0-8ADD-4165-9B2C-09F5AB61ABB9}"/>
          </ac:graphicFrameMkLst>
        </pc:graphicFrameChg>
        <pc:picChg chg="add del mod">
          <ac:chgData name="Ziter, Timothy" userId="d05d3a43-c08b-4bf4-957b-eacc6ecc84fa" providerId="ADAL" clId="{B5639068-6E70-497A-814B-B5DC99DC97ED}" dt="2022-11-01T21:57:26.102" v="159" actId="478"/>
          <ac:picMkLst>
            <pc:docMk/>
            <pc:sldMk cId="0" sldId="272"/>
            <ac:picMk id="5" creationId="{9F79CDD5-AFAC-4B78-A8E2-FBC60358EEF9}"/>
          </ac:picMkLst>
        </pc:picChg>
        <pc:picChg chg="add del mod">
          <ac:chgData name="Ziter, Timothy" userId="d05d3a43-c08b-4bf4-957b-eacc6ecc84fa" providerId="ADAL" clId="{B5639068-6E70-497A-814B-B5DC99DC97ED}" dt="2022-11-01T21:57:24.586" v="158" actId="478"/>
          <ac:picMkLst>
            <pc:docMk/>
            <pc:sldMk cId="0" sldId="272"/>
            <ac:picMk id="6" creationId="{173AC06F-E511-4826-9C22-62141BE7F31A}"/>
          </ac:picMkLst>
        </pc:picChg>
        <pc:picChg chg="add mod">
          <ac:chgData name="Ziter, Timothy" userId="d05d3a43-c08b-4bf4-957b-eacc6ecc84fa" providerId="ADAL" clId="{B5639068-6E70-497A-814B-B5DC99DC97ED}" dt="2022-11-01T21:57:06.074" v="156" actId="1076"/>
          <ac:picMkLst>
            <pc:docMk/>
            <pc:sldMk cId="0" sldId="272"/>
            <ac:picMk id="7" creationId="{8E015864-3EB8-4B15-ADCA-CDF8E76A31D0}"/>
          </ac:picMkLst>
        </pc:picChg>
        <pc:picChg chg="add mod">
          <ac:chgData name="Ziter, Timothy" userId="d05d3a43-c08b-4bf4-957b-eacc6ecc84fa" providerId="ADAL" clId="{B5639068-6E70-497A-814B-B5DC99DC97ED}" dt="2022-11-01T21:57:06.074" v="156" actId="1076"/>
          <ac:picMkLst>
            <pc:docMk/>
            <pc:sldMk cId="0" sldId="272"/>
            <ac:picMk id="8" creationId="{D10A43F0-1C2E-41DC-90C5-4E7336161C66}"/>
          </ac:picMkLst>
        </pc:picChg>
        <pc:picChg chg="add mod">
          <ac:chgData name="Ziter, Timothy" userId="d05d3a43-c08b-4bf4-957b-eacc6ecc84fa" providerId="ADAL" clId="{B5639068-6E70-497A-814B-B5DC99DC97ED}" dt="2022-11-01T21:57:06.074" v="156" actId="1076"/>
          <ac:picMkLst>
            <pc:docMk/>
            <pc:sldMk cId="0" sldId="272"/>
            <ac:picMk id="9" creationId="{BC4AE565-909D-4135-9745-3DBE3756A269}"/>
          </ac:picMkLst>
        </pc:picChg>
        <pc:picChg chg="add mod">
          <ac:chgData name="Ziter, Timothy" userId="d05d3a43-c08b-4bf4-957b-eacc6ecc84fa" providerId="ADAL" clId="{B5639068-6E70-497A-814B-B5DC99DC97ED}" dt="2022-11-01T21:57:06.074" v="156" actId="1076"/>
          <ac:picMkLst>
            <pc:docMk/>
            <pc:sldMk cId="0" sldId="272"/>
            <ac:picMk id="10" creationId="{09847967-E9EA-48F7-968F-F991191FFC7D}"/>
          </ac:picMkLst>
        </pc:picChg>
        <pc:picChg chg="add mod">
          <ac:chgData name="Ziter, Timothy" userId="d05d3a43-c08b-4bf4-957b-eacc6ecc84fa" providerId="ADAL" clId="{B5639068-6E70-497A-814B-B5DC99DC97ED}" dt="2022-11-01T21:57:06.074" v="156" actId="1076"/>
          <ac:picMkLst>
            <pc:docMk/>
            <pc:sldMk cId="0" sldId="272"/>
            <ac:picMk id="11" creationId="{2C428255-B389-4717-A6CD-360346642212}"/>
          </ac:picMkLst>
        </pc:picChg>
        <pc:picChg chg="add mod">
          <ac:chgData name="Ziter, Timothy" userId="d05d3a43-c08b-4bf4-957b-eacc6ecc84fa" providerId="ADAL" clId="{B5639068-6E70-497A-814B-B5DC99DC97ED}" dt="2022-11-01T21:57:06.074" v="156" actId="1076"/>
          <ac:picMkLst>
            <pc:docMk/>
            <pc:sldMk cId="0" sldId="272"/>
            <ac:picMk id="12" creationId="{3FB33E61-9E13-4EAF-A4FD-63AFF1347580}"/>
          </ac:picMkLst>
        </pc:picChg>
        <pc:picChg chg="add mod">
          <ac:chgData name="Ziter, Timothy" userId="d05d3a43-c08b-4bf4-957b-eacc6ecc84fa" providerId="ADAL" clId="{B5639068-6E70-497A-814B-B5DC99DC97ED}" dt="2022-11-01T21:57:32.465" v="160" actId="1076"/>
          <ac:picMkLst>
            <pc:docMk/>
            <pc:sldMk cId="0" sldId="272"/>
            <ac:picMk id="14" creationId="{7D9CA88A-4F41-4D29-AFD4-A78811366506}"/>
          </ac:picMkLst>
        </pc:picChg>
        <pc:picChg chg="add mod">
          <ac:chgData name="Ziter, Timothy" userId="d05d3a43-c08b-4bf4-957b-eacc6ecc84fa" providerId="ADAL" clId="{B5639068-6E70-497A-814B-B5DC99DC97ED}" dt="2022-11-01T21:57:32.465" v="160" actId="1076"/>
          <ac:picMkLst>
            <pc:docMk/>
            <pc:sldMk cId="0" sldId="272"/>
            <ac:picMk id="15" creationId="{1C3AE1BE-EF88-4A79-91BB-3C0FE0F6BBBB}"/>
          </ac:picMkLst>
        </pc:picChg>
        <pc:picChg chg="add mod">
          <ac:chgData name="Ziter, Timothy" userId="d05d3a43-c08b-4bf4-957b-eacc6ecc84fa" providerId="ADAL" clId="{B5639068-6E70-497A-814B-B5DC99DC97ED}" dt="2022-11-01T21:57:37.443" v="162" actId="1076"/>
          <ac:picMkLst>
            <pc:docMk/>
            <pc:sldMk cId="0" sldId="272"/>
            <ac:picMk id="16" creationId="{C3685456-4753-4305-9A94-A5107B0C0282}"/>
          </ac:picMkLst>
        </pc:picChg>
        <pc:picChg chg="add mod">
          <ac:chgData name="Ziter, Timothy" userId="d05d3a43-c08b-4bf4-957b-eacc6ecc84fa" providerId="ADAL" clId="{B5639068-6E70-497A-814B-B5DC99DC97ED}" dt="2022-11-01T21:57:32.465" v="160" actId="1076"/>
          <ac:picMkLst>
            <pc:docMk/>
            <pc:sldMk cId="0" sldId="272"/>
            <ac:picMk id="19" creationId="{2B526DD7-B2C7-4174-BACC-DAC6E0DA5A9E}"/>
          </ac:picMkLst>
        </pc:picChg>
      </pc:sldChg>
      <pc:sldChg chg="del modNotes">
        <pc:chgData name="Ziter, Timothy" userId="d05d3a43-c08b-4bf4-957b-eacc6ecc84fa" providerId="ADAL" clId="{B5639068-6E70-497A-814B-B5DC99DC97ED}" dt="2022-11-02T10:25:03.703" v="4017" actId="47"/>
        <pc:sldMkLst>
          <pc:docMk/>
          <pc:sldMk cId="0" sldId="273"/>
        </pc:sldMkLst>
      </pc:sldChg>
      <pc:sldChg chg="del modNotes">
        <pc:chgData name="Ziter, Timothy" userId="d05d3a43-c08b-4bf4-957b-eacc6ecc84fa" providerId="ADAL" clId="{B5639068-6E70-497A-814B-B5DC99DC97ED}" dt="2022-11-02T10:25:03.703" v="4017" actId="47"/>
        <pc:sldMkLst>
          <pc:docMk/>
          <pc:sldMk cId="0" sldId="274"/>
        </pc:sldMkLst>
      </pc:sldChg>
      <pc:sldChg chg="addSp delSp modSp mod ord modNotes">
        <pc:chgData name="Ziter, Timothy" userId="d05d3a43-c08b-4bf4-957b-eacc6ecc84fa" providerId="ADAL" clId="{B5639068-6E70-497A-814B-B5DC99DC97ED}" dt="2022-11-01T22:29:57.785" v="1355" actId="27636"/>
        <pc:sldMkLst>
          <pc:docMk/>
          <pc:sldMk cId="0" sldId="275"/>
        </pc:sldMkLst>
        <pc:spChg chg="add mod">
          <ac:chgData name="Ziter, Timothy" userId="d05d3a43-c08b-4bf4-957b-eacc6ecc84fa" providerId="ADAL" clId="{B5639068-6E70-497A-814B-B5DC99DC97ED}" dt="2022-11-01T22:29:57.785" v="1355" actId="27636"/>
          <ac:spMkLst>
            <pc:docMk/>
            <pc:sldMk cId="0" sldId="275"/>
            <ac:spMk id="6" creationId="{8FE7656D-A516-405A-8846-5FEFF41CD045}"/>
          </ac:spMkLst>
        </pc:spChg>
        <pc:spChg chg="add mod">
          <ac:chgData name="Ziter, Timothy" userId="d05d3a43-c08b-4bf4-957b-eacc6ecc84fa" providerId="ADAL" clId="{B5639068-6E70-497A-814B-B5DC99DC97ED}" dt="2022-11-01T22:18:50.797" v="817" actId="14100"/>
          <ac:spMkLst>
            <pc:docMk/>
            <pc:sldMk cId="0" sldId="275"/>
            <ac:spMk id="7" creationId="{74AA617D-8219-4F65-AF47-6C3E66D6D26E}"/>
          </ac:spMkLst>
        </pc:spChg>
        <pc:spChg chg="add mod">
          <ac:chgData name="Ziter, Timothy" userId="d05d3a43-c08b-4bf4-957b-eacc6ecc84fa" providerId="ADAL" clId="{B5639068-6E70-497A-814B-B5DC99DC97ED}" dt="2022-11-01T22:21:36.836" v="921" actId="20577"/>
          <ac:spMkLst>
            <pc:docMk/>
            <pc:sldMk cId="0" sldId="275"/>
            <ac:spMk id="11" creationId="{BF394AAC-495D-4337-8DC5-3198EEA8D27F}"/>
          </ac:spMkLst>
        </pc:spChg>
        <pc:spChg chg="add mod">
          <ac:chgData name="Ziter, Timothy" userId="d05d3a43-c08b-4bf4-957b-eacc6ecc84fa" providerId="ADAL" clId="{B5639068-6E70-497A-814B-B5DC99DC97ED}" dt="2022-11-01T22:21:57.268" v="958" actId="20577"/>
          <ac:spMkLst>
            <pc:docMk/>
            <pc:sldMk cId="0" sldId="275"/>
            <ac:spMk id="12" creationId="{EE20109F-0C11-4467-9232-876FF5EAD88B}"/>
          </ac:spMkLst>
        </pc:spChg>
        <pc:spChg chg="add mod">
          <ac:chgData name="Ziter, Timothy" userId="d05d3a43-c08b-4bf4-957b-eacc6ecc84fa" providerId="ADAL" clId="{B5639068-6E70-497A-814B-B5DC99DC97ED}" dt="2022-11-01T22:22:15.107" v="984" actId="20577"/>
          <ac:spMkLst>
            <pc:docMk/>
            <pc:sldMk cId="0" sldId="275"/>
            <ac:spMk id="13" creationId="{40E0A525-CC27-4DAE-BB1D-69E7EBD4BCB5}"/>
          </ac:spMkLst>
        </pc:spChg>
        <pc:spChg chg="del">
          <ac:chgData name="Ziter, Timothy" userId="d05d3a43-c08b-4bf4-957b-eacc6ecc84fa" providerId="ADAL" clId="{B5639068-6E70-497A-814B-B5DC99DC97ED}" dt="2022-11-01T22:17:16.342" v="754" actId="478"/>
          <ac:spMkLst>
            <pc:docMk/>
            <pc:sldMk cId="0" sldId="275"/>
            <ac:spMk id="424" creationId="{00000000-0000-0000-0000-000000000000}"/>
          </ac:spMkLst>
        </pc:spChg>
        <pc:spChg chg="del">
          <ac:chgData name="Ziter, Timothy" userId="d05d3a43-c08b-4bf4-957b-eacc6ecc84fa" providerId="ADAL" clId="{B5639068-6E70-497A-814B-B5DC99DC97ED}" dt="2022-11-01T22:17:18.536" v="772" actId="478"/>
          <ac:spMkLst>
            <pc:docMk/>
            <pc:sldMk cId="0" sldId="275"/>
            <ac:spMk id="425" creationId="{00000000-0000-0000-0000-000000000000}"/>
          </ac:spMkLst>
        </pc:spChg>
        <pc:spChg chg="del">
          <ac:chgData name="Ziter, Timothy" userId="d05d3a43-c08b-4bf4-957b-eacc6ecc84fa" providerId="ADAL" clId="{B5639068-6E70-497A-814B-B5DC99DC97ED}" dt="2022-11-01T22:20:12.044" v="900" actId="478"/>
          <ac:spMkLst>
            <pc:docMk/>
            <pc:sldMk cId="0" sldId="275"/>
            <ac:spMk id="426" creationId="{00000000-0000-0000-0000-000000000000}"/>
          </ac:spMkLst>
        </pc:spChg>
        <pc:graphicFrameChg chg="add mod ord modVis replST">
          <ac:chgData name="Ziter, Timothy" userId="d05d3a43-c08b-4bf4-957b-eacc6ecc84fa" providerId="ADAL" clId="{B5639068-6E70-497A-814B-B5DC99DC97ED}" dt="2022-11-01T22:18:51.343" v="820"/>
          <ac:graphicFrameMkLst>
            <pc:docMk/>
            <pc:sldMk cId="0" sldId="275"/>
            <ac:graphicFrameMk id="2" creationId="{F05424D2-5A7B-43E2-860C-0F35FD90AF14}"/>
          </ac:graphicFrameMkLst>
        </pc:graphicFrameChg>
        <pc:picChg chg="add mod">
          <ac:chgData name="Ziter, Timothy" userId="d05d3a43-c08b-4bf4-957b-eacc6ecc84fa" providerId="ADAL" clId="{B5639068-6E70-497A-814B-B5DC99DC97ED}" dt="2022-11-01T22:21:19.956" v="918" actId="1076"/>
          <ac:picMkLst>
            <pc:docMk/>
            <pc:sldMk cId="0" sldId="275"/>
            <ac:picMk id="8" creationId="{4BD3C5B2-DC43-413E-8556-7B4396B02AE0}"/>
          </ac:picMkLst>
        </pc:picChg>
        <pc:picChg chg="add mod">
          <ac:chgData name="Ziter, Timothy" userId="d05d3a43-c08b-4bf4-957b-eacc6ecc84fa" providerId="ADAL" clId="{B5639068-6E70-497A-814B-B5DC99DC97ED}" dt="2022-11-01T22:21:39.697" v="922" actId="1076"/>
          <ac:picMkLst>
            <pc:docMk/>
            <pc:sldMk cId="0" sldId="275"/>
            <ac:picMk id="9" creationId="{0B304148-B193-4246-924F-80C56F147819}"/>
          </ac:picMkLst>
        </pc:picChg>
        <pc:picChg chg="add mod">
          <ac:chgData name="Ziter, Timothy" userId="d05d3a43-c08b-4bf4-957b-eacc6ecc84fa" providerId="ADAL" clId="{B5639068-6E70-497A-814B-B5DC99DC97ED}" dt="2022-11-01T22:20:44.613" v="906" actId="1076"/>
          <ac:picMkLst>
            <pc:docMk/>
            <pc:sldMk cId="0" sldId="275"/>
            <ac:picMk id="10" creationId="{1EA02115-EFF4-4023-B1A3-714F9F3E96F6}"/>
          </ac:picMkLst>
        </pc:picChg>
      </pc:sldChg>
      <pc:sldChg chg="del modNotes">
        <pc:chgData name="Ziter, Timothy" userId="d05d3a43-c08b-4bf4-957b-eacc6ecc84fa" providerId="ADAL" clId="{B5639068-6E70-497A-814B-B5DC99DC97ED}" dt="2022-11-02T10:25:07.768" v="4018" actId="47"/>
        <pc:sldMkLst>
          <pc:docMk/>
          <pc:sldMk cId="0" sldId="276"/>
        </pc:sldMkLst>
      </pc:sldChg>
      <pc:sldChg chg="modSp mod ord modNotes">
        <pc:chgData name="Ziter, Timothy" userId="d05d3a43-c08b-4bf4-957b-eacc6ecc84fa" providerId="ADAL" clId="{B5639068-6E70-497A-814B-B5DC99DC97ED}" dt="2022-11-02T10:24:37.697" v="4013" actId="6549"/>
        <pc:sldMkLst>
          <pc:docMk/>
          <pc:sldMk cId="0" sldId="277"/>
        </pc:sldMkLst>
        <pc:spChg chg="mod">
          <ac:chgData name="Ziter, Timothy" userId="d05d3a43-c08b-4bf4-957b-eacc6ecc84fa" providerId="ADAL" clId="{B5639068-6E70-497A-814B-B5DC99DC97ED}" dt="2022-11-02T10:24:37.697" v="4013" actId="6549"/>
          <ac:spMkLst>
            <pc:docMk/>
            <pc:sldMk cId="0" sldId="277"/>
            <ac:spMk id="438" creationId="{00000000-0000-0000-0000-000000000000}"/>
          </ac:spMkLst>
        </pc:spChg>
      </pc:sldChg>
      <pc:sldChg chg="del modNotes">
        <pc:chgData name="Ziter, Timothy" userId="d05d3a43-c08b-4bf4-957b-eacc6ecc84fa" providerId="ADAL" clId="{B5639068-6E70-497A-814B-B5DC99DC97ED}" dt="2022-11-02T10:25:07.768" v="4018" actId="47"/>
        <pc:sldMkLst>
          <pc:docMk/>
          <pc:sldMk cId="0" sldId="278"/>
        </pc:sldMkLst>
      </pc:sldChg>
      <pc:sldChg chg="addSp delSp modSp add mod">
        <pc:chgData name="Ziter, Timothy" userId="d05d3a43-c08b-4bf4-957b-eacc6ecc84fa" providerId="ADAL" clId="{B5639068-6E70-497A-814B-B5DC99DC97ED}" dt="2022-11-02T10:26:30.225" v="4038" actId="1036"/>
        <pc:sldMkLst>
          <pc:docMk/>
          <pc:sldMk cId="2778287839" sldId="279"/>
        </pc:sldMkLst>
        <pc:spChg chg="del mod">
          <ac:chgData name="Ziter, Timothy" userId="d05d3a43-c08b-4bf4-957b-eacc6ecc84fa" providerId="ADAL" clId="{B5639068-6E70-497A-814B-B5DC99DC97ED}" dt="2022-11-01T21:58:23.761" v="165" actId="478"/>
          <ac:spMkLst>
            <pc:docMk/>
            <pc:sldMk cId="2778287839" sldId="279"/>
            <ac:spMk id="13" creationId="{A248E514-09E1-41DA-BA3D-93BE74547308}"/>
          </ac:spMkLst>
        </pc:spChg>
        <pc:spChg chg="del mod">
          <ac:chgData name="Ziter, Timothy" userId="d05d3a43-c08b-4bf4-957b-eacc6ecc84fa" providerId="ADAL" clId="{B5639068-6E70-497A-814B-B5DC99DC97ED}" dt="2022-11-01T21:58:23.761" v="165" actId="478"/>
          <ac:spMkLst>
            <pc:docMk/>
            <pc:sldMk cId="2778287839" sldId="279"/>
            <ac:spMk id="17" creationId="{917056D2-E4ED-4344-A14B-C1009CC68A12}"/>
          </ac:spMkLst>
        </pc:spChg>
        <pc:spChg chg="add mod">
          <ac:chgData name="Ziter, Timothy" userId="d05d3a43-c08b-4bf4-957b-eacc6ecc84fa" providerId="ADAL" clId="{B5639068-6E70-497A-814B-B5DC99DC97ED}" dt="2022-11-02T10:26:30.225" v="4038" actId="1036"/>
          <ac:spMkLst>
            <pc:docMk/>
            <pc:sldMk cId="2778287839" sldId="279"/>
            <ac:spMk id="20" creationId="{EC685F05-2660-43A6-BEF2-F20EEBE7151A}"/>
          </ac:spMkLst>
        </pc:spChg>
        <pc:spChg chg="mod">
          <ac:chgData name="Ziter, Timothy" userId="d05d3a43-c08b-4bf4-957b-eacc6ecc84fa" providerId="ADAL" clId="{B5639068-6E70-497A-814B-B5DC99DC97ED}" dt="2022-11-02T10:26:30.225" v="4038" actId="1036"/>
          <ac:spMkLst>
            <pc:docMk/>
            <pc:sldMk cId="2778287839" sldId="279"/>
            <ac:spMk id="404" creationId="{00000000-0000-0000-0000-000000000000}"/>
          </ac:spMkLst>
        </pc:spChg>
        <pc:spChg chg="mod">
          <ac:chgData name="Ziter, Timothy" userId="d05d3a43-c08b-4bf4-957b-eacc6ecc84fa" providerId="ADAL" clId="{B5639068-6E70-497A-814B-B5DC99DC97ED}" dt="2022-11-01T22:00:55.388" v="242" actId="20577"/>
          <ac:spMkLst>
            <pc:docMk/>
            <pc:sldMk cId="2778287839" sldId="279"/>
            <ac:spMk id="405" creationId="{00000000-0000-0000-0000-000000000000}"/>
          </ac:spMkLst>
        </pc:spChg>
        <pc:grpChg chg="mod">
          <ac:chgData name="Ziter, Timothy" userId="d05d3a43-c08b-4bf4-957b-eacc6ecc84fa" providerId="ADAL" clId="{B5639068-6E70-497A-814B-B5DC99DC97ED}" dt="2022-11-01T21:57:54.014" v="164"/>
          <ac:grpSpMkLst>
            <pc:docMk/>
            <pc:sldMk cId="2778287839" sldId="279"/>
            <ac:grpSpMk id="1" creationId="{00000000-0000-0000-0000-000000000000}"/>
          </ac:grpSpMkLst>
        </pc:grpChg>
        <pc:graphicFrameChg chg="mod">
          <ac:chgData name="Ziter, Timothy" userId="d05d3a43-c08b-4bf4-957b-eacc6ecc84fa" providerId="ADAL" clId="{B5639068-6E70-497A-814B-B5DC99DC97ED}" dt="2022-11-01T22:00:55.888" v="245"/>
          <ac:graphicFrameMkLst>
            <pc:docMk/>
            <pc:sldMk cId="2778287839" sldId="279"/>
            <ac:graphicFrameMk id="2" creationId="{E8A453E0-8ADD-4165-9B2C-09F5AB61ABB9}"/>
          </ac:graphicFrameMkLst>
        </pc:graphicFrameChg>
        <pc:picChg chg="del mod">
          <ac:chgData name="Ziter, Timothy" userId="d05d3a43-c08b-4bf4-957b-eacc6ecc84fa" providerId="ADAL" clId="{B5639068-6E70-497A-814B-B5DC99DC97ED}" dt="2022-11-01T21:58:23.761" v="165" actId="478"/>
          <ac:picMkLst>
            <pc:docMk/>
            <pc:sldMk cId="2778287839" sldId="279"/>
            <ac:picMk id="7" creationId="{8E015864-3EB8-4B15-ADCA-CDF8E76A31D0}"/>
          </ac:picMkLst>
        </pc:picChg>
        <pc:picChg chg="del mod">
          <ac:chgData name="Ziter, Timothy" userId="d05d3a43-c08b-4bf4-957b-eacc6ecc84fa" providerId="ADAL" clId="{B5639068-6E70-497A-814B-B5DC99DC97ED}" dt="2022-11-01T21:58:23.761" v="165" actId="478"/>
          <ac:picMkLst>
            <pc:docMk/>
            <pc:sldMk cId="2778287839" sldId="279"/>
            <ac:picMk id="8" creationId="{D10A43F0-1C2E-41DC-90C5-4E7336161C66}"/>
          </ac:picMkLst>
        </pc:picChg>
        <pc:picChg chg="del mod">
          <ac:chgData name="Ziter, Timothy" userId="d05d3a43-c08b-4bf4-957b-eacc6ecc84fa" providerId="ADAL" clId="{B5639068-6E70-497A-814B-B5DC99DC97ED}" dt="2022-11-01T21:58:23.761" v="165" actId="478"/>
          <ac:picMkLst>
            <pc:docMk/>
            <pc:sldMk cId="2778287839" sldId="279"/>
            <ac:picMk id="9" creationId="{BC4AE565-909D-4135-9745-3DBE3756A269}"/>
          </ac:picMkLst>
        </pc:picChg>
        <pc:picChg chg="del mod">
          <ac:chgData name="Ziter, Timothy" userId="d05d3a43-c08b-4bf4-957b-eacc6ecc84fa" providerId="ADAL" clId="{B5639068-6E70-497A-814B-B5DC99DC97ED}" dt="2022-11-01T21:58:23.761" v="165" actId="478"/>
          <ac:picMkLst>
            <pc:docMk/>
            <pc:sldMk cId="2778287839" sldId="279"/>
            <ac:picMk id="10" creationId="{09847967-E9EA-48F7-968F-F991191FFC7D}"/>
          </ac:picMkLst>
        </pc:picChg>
        <pc:picChg chg="del mod">
          <ac:chgData name="Ziter, Timothy" userId="d05d3a43-c08b-4bf4-957b-eacc6ecc84fa" providerId="ADAL" clId="{B5639068-6E70-497A-814B-B5DC99DC97ED}" dt="2022-11-01T21:58:23.761" v="165" actId="478"/>
          <ac:picMkLst>
            <pc:docMk/>
            <pc:sldMk cId="2778287839" sldId="279"/>
            <ac:picMk id="11" creationId="{2C428255-B389-4717-A6CD-360346642212}"/>
          </ac:picMkLst>
        </pc:picChg>
        <pc:picChg chg="del mod">
          <ac:chgData name="Ziter, Timothy" userId="d05d3a43-c08b-4bf4-957b-eacc6ecc84fa" providerId="ADAL" clId="{B5639068-6E70-497A-814B-B5DC99DC97ED}" dt="2022-11-01T21:58:23.761" v="165" actId="478"/>
          <ac:picMkLst>
            <pc:docMk/>
            <pc:sldMk cId="2778287839" sldId="279"/>
            <ac:picMk id="12" creationId="{3FB33E61-9E13-4EAF-A4FD-63AFF1347580}"/>
          </ac:picMkLst>
        </pc:picChg>
        <pc:picChg chg="del mod">
          <ac:chgData name="Ziter, Timothy" userId="d05d3a43-c08b-4bf4-957b-eacc6ecc84fa" providerId="ADAL" clId="{B5639068-6E70-497A-814B-B5DC99DC97ED}" dt="2022-11-01T21:58:23.761" v="165" actId="478"/>
          <ac:picMkLst>
            <pc:docMk/>
            <pc:sldMk cId="2778287839" sldId="279"/>
            <ac:picMk id="14" creationId="{7D9CA88A-4F41-4D29-AFD4-A78811366506}"/>
          </ac:picMkLst>
        </pc:picChg>
        <pc:picChg chg="del mod">
          <ac:chgData name="Ziter, Timothy" userId="d05d3a43-c08b-4bf4-957b-eacc6ecc84fa" providerId="ADAL" clId="{B5639068-6E70-497A-814B-B5DC99DC97ED}" dt="2022-11-01T21:58:23.761" v="165" actId="478"/>
          <ac:picMkLst>
            <pc:docMk/>
            <pc:sldMk cId="2778287839" sldId="279"/>
            <ac:picMk id="15" creationId="{1C3AE1BE-EF88-4A79-91BB-3C0FE0F6BBBB}"/>
          </ac:picMkLst>
        </pc:picChg>
        <pc:picChg chg="del mod">
          <ac:chgData name="Ziter, Timothy" userId="d05d3a43-c08b-4bf4-957b-eacc6ecc84fa" providerId="ADAL" clId="{B5639068-6E70-497A-814B-B5DC99DC97ED}" dt="2022-11-01T21:58:23.761" v="165" actId="478"/>
          <ac:picMkLst>
            <pc:docMk/>
            <pc:sldMk cId="2778287839" sldId="279"/>
            <ac:picMk id="16" creationId="{C3685456-4753-4305-9A94-A5107B0C0282}"/>
          </ac:picMkLst>
        </pc:picChg>
        <pc:picChg chg="add mod">
          <ac:chgData name="Ziter, Timothy" userId="d05d3a43-c08b-4bf4-957b-eacc6ecc84fa" providerId="ADAL" clId="{B5639068-6E70-497A-814B-B5DC99DC97ED}" dt="2022-11-02T10:26:30.225" v="4038" actId="1036"/>
          <ac:picMkLst>
            <pc:docMk/>
            <pc:sldMk cId="2778287839" sldId="279"/>
            <ac:picMk id="18" creationId="{F667CD4C-0CEF-4B0C-B562-C3737B8F245F}"/>
          </ac:picMkLst>
        </pc:picChg>
        <pc:picChg chg="del mod">
          <ac:chgData name="Ziter, Timothy" userId="d05d3a43-c08b-4bf4-957b-eacc6ecc84fa" providerId="ADAL" clId="{B5639068-6E70-497A-814B-B5DC99DC97ED}" dt="2022-11-01T21:58:23.761" v="165" actId="478"/>
          <ac:picMkLst>
            <pc:docMk/>
            <pc:sldMk cId="2778287839" sldId="279"/>
            <ac:picMk id="19" creationId="{2B526DD7-B2C7-4174-BACC-DAC6E0DA5A9E}"/>
          </ac:picMkLst>
        </pc:picChg>
      </pc:sldChg>
      <pc:sldChg chg="addSp delSp modSp add mod">
        <pc:chgData name="Ziter, Timothy" userId="d05d3a43-c08b-4bf4-957b-eacc6ecc84fa" providerId="ADAL" clId="{B5639068-6E70-497A-814B-B5DC99DC97ED}" dt="2022-11-02T10:26:37.057" v="4049" actId="1036"/>
        <pc:sldMkLst>
          <pc:docMk/>
          <pc:sldMk cId="4221139654" sldId="280"/>
        </pc:sldMkLst>
        <pc:spChg chg="mod">
          <ac:chgData name="Ziter, Timothy" userId="d05d3a43-c08b-4bf4-957b-eacc6ecc84fa" providerId="ADAL" clId="{B5639068-6E70-497A-814B-B5DC99DC97ED}" dt="2022-11-02T10:26:37.057" v="4049" actId="1036"/>
          <ac:spMkLst>
            <pc:docMk/>
            <pc:sldMk cId="4221139654" sldId="280"/>
            <ac:spMk id="20" creationId="{EC685F05-2660-43A6-BEF2-F20EEBE7151A}"/>
          </ac:spMkLst>
        </pc:spChg>
        <pc:spChg chg="mod">
          <ac:chgData name="Ziter, Timothy" userId="d05d3a43-c08b-4bf4-957b-eacc6ecc84fa" providerId="ADAL" clId="{B5639068-6E70-497A-814B-B5DC99DC97ED}" dt="2022-11-02T10:26:37.057" v="4049" actId="1036"/>
          <ac:spMkLst>
            <pc:docMk/>
            <pc:sldMk cId="4221139654" sldId="280"/>
            <ac:spMk id="404" creationId="{00000000-0000-0000-0000-000000000000}"/>
          </ac:spMkLst>
        </pc:spChg>
        <pc:spChg chg="mod">
          <ac:chgData name="Ziter, Timothy" userId="d05d3a43-c08b-4bf4-957b-eacc6ecc84fa" providerId="ADAL" clId="{B5639068-6E70-497A-814B-B5DC99DC97ED}" dt="2022-11-01T22:01:19.654" v="249"/>
          <ac:spMkLst>
            <pc:docMk/>
            <pc:sldMk cId="4221139654" sldId="280"/>
            <ac:spMk id="405" creationId="{00000000-0000-0000-0000-000000000000}"/>
          </ac:spMkLst>
        </pc:spChg>
        <pc:grpChg chg="mod">
          <ac:chgData name="Ziter, Timothy" userId="d05d3a43-c08b-4bf4-957b-eacc6ecc84fa" providerId="ADAL" clId="{B5639068-6E70-497A-814B-B5DC99DC97ED}" dt="2022-11-01T22:01:19.654" v="249"/>
          <ac:grpSpMkLst>
            <pc:docMk/>
            <pc:sldMk cId="4221139654" sldId="280"/>
            <ac:grpSpMk id="1" creationId="{00000000-0000-0000-0000-000000000000}"/>
          </ac:grpSpMkLst>
        </pc:grpChg>
        <pc:graphicFrameChg chg="mod">
          <ac:chgData name="Ziter, Timothy" userId="d05d3a43-c08b-4bf4-957b-eacc6ecc84fa" providerId="ADAL" clId="{B5639068-6E70-497A-814B-B5DC99DC97ED}" dt="2022-11-01T22:01:19.654" v="249"/>
          <ac:graphicFrameMkLst>
            <pc:docMk/>
            <pc:sldMk cId="4221139654" sldId="280"/>
            <ac:graphicFrameMk id="2" creationId="{E8A453E0-8ADD-4165-9B2C-09F5AB61ABB9}"/>
          </ac:graphicFrameMkLst>
        </pc:graphicFrameChg>
        <pc:picChg chg="add mod">
          <ac:chgData name="Ziter, Timothy" userId="d05d3a43-c08b-4bf4-957b-eacc6ecc84fa" providerId="ADAL" clId="{B5639068-6E70-497A-814B-B5DC99DC97ED}" dt="2022-11-02T10:26:37.057" v="4049" actId="1036"/>
          <ac:picMkLst>
            <pc:docMk/>
            <pc:sldMk cId="4221139654" sldId="280"/>
            <ac:picMk id="7" creationId="{C7C44012-34AF-4A41-AB3B-E15A72A847F9}"/>
          </ac:picMkLst>
        </pc:picChg>
        <pc:picChg chg="del mod">
          <ac:chgData name="Ziter, Timothy" userId="d05d3a43-c08b-4bf4-957b-eacc6ecc84fa" providerId="ADAL" clId="{B5639068-6E70-497A-814B-B5DC99DC97ED}" dt="2022-11-01T22:01:27.468" v="250" actId="478"/>
          <ac:picMkLst>
            <pc:docMk/>
            <pc:sldMk cId="4221139654" sldId="280"/>
            <ac:picMk id="18" creationId="{F667CD4C-0CEF-4B0C-B562-C3737B8F245F}"/>
          </ac:picMkLst>
        </pc:picChg>
      </pc:sldChg>
      <pc:sldChg chg="addSp delSp modSp add mod">
        <pc:chgData name="Ziter, Timothy" userId="d05d3a43-c08b-4bf4-957b-eacc6ecc84fa" providerId="ADAL" clId="{B5639068-6E70-497A-814B-B5DC99DC97ED}" dt="2022-11-01T22:06:04.972" v="377" actId="14100"/>
        <pc:sldMkLst>
          <pc:docMk/>
          <pc:sldMk cId="1569575288" sldId="281"/>
        </pc:sldMkLst>
        <pc:spChg chg="del mod">
          <ac:chgData name="Ziter, Timothy" userId="d05d3a43-c08b-4bf4-957b-eacc6ecc84fa" providerId="ADAL" clId="{B5639068-6E70-497A-814B-B5DC99DC97ED}" dt="2022-11-01T22:03:45.548" v="300" actId="478"/>
          <ac:spMkLst>
            <pc:docMk/>
            <pc:sldMk cId="1569575288" sldId="281"/>
            <ac:spMk id="20" creationId="{EC685F05-2660-43A6-BEF2-F20EEBE7151A}"/>
          </ac:spMkLst>
        </pc:spChg>
        <pc:spChg chg="mod">
          <ac:chgData name="Ziter, Timothy" userId="d05d3a43-c08b-4bf4-957b-eacc6ecc84fa" providerId="ADAL" clId="{B5639068-6E70-497A-814B-B5DC99DC97ED}" dt="2022-11-01T22:05:54.075" v="369" actId="1076"/>
          <ac:spMkLst>
            <pc:docMk/>
            <pc:sldMk cId="1569575288" sldId="281"/>
            <ac:spMk id="404" creationId="{00000000-0000-0000-0000-000000000000}"/>
          </ac:spMkLst>
        </pc:spChg>
        <pc:spChg chg="mod">
          <ac:chgData name="Ziter, Timothy" userId="d05d3a43-c08b-4bf4-957b-eacc6ecc84fa" providerId="ADAL" clId="{B5639068-6E70-497A-814B-B5DC99DC97ED}" dt="2022-11-01T22:05:58.774" v="373" actId="20577"/>
          <ac:spMkLst>
            <pc:docMk/>
            <pc:sldMk cId="1569575288" sldId="281"/>
            <ac:spMk id="405" creationId="{00000000-0000-0000-0000-000000000000}"/>
          </ac:spMkLst>
        </pc:spChg>
        <pc:grpChg chg="mod">
          <ac:chgData name="Ziter, Timothy" userId="d05d3a43-c08b-4bf4-957b-eacc6ecc84fa" providerId="ADAL" clId="{B5639068-6E70-497A-814B-B5DC99DC97ED}" dt="2022-11-01T22:03:36.216" v="298"/>
          <ac:grpSpMkLst>
            <pc:docMk/>
            <pc:sldMk cId="1569575288" sldId="281"/>
            <ac:grpSpMk id="1" creationId="{00000000-0000-0000-0000-000000000000}"/>
          </ac:grpSpMkLst>
        </pc:grpChg>
        <pc:graphicFrameChg chg="mod">
          <ac:chgData name="Ziter, Timothy" userId="d05d3a43-c08b-4bf4-957b-eacc6ecc84fa" providerId="ADAL" clId="{B5639068-6E70-497A-814B-B5DC99DC97ED}" dt="2022-11-01T22:05:58.876" v="376"/>
          <ac:graphicFrameMkLst>
            <pc:docMk/>
            <pc:sldMk cId="1569575288" sldId="281"/>
            <ac:graphicFrameMk id="2" creationId="{E8A453E0-8ADD-4165-9B2C-09F5AB61ABB9}"/>
          </ac:graphicFrameMkLst>
        </pc:graphicFrameChg>
        <pc:picChg chg="del mod">
          <ac:chgData name="Ziter, Timothy" userId="d05d3a43-c08b-4bf4-957b-eacc6ecc84fa" providerId="ADAL" clId="{B5639068-6E70-497A-814B-B5DC99DC97ED}" dt="2022-11-01T22:03:43.851" v="299" actId="478"/>
          <ac:picMkLst>
            <pc:docMk/>
            <pc:sldMk cId="1569575288" sldId="281"/>
            <ac:picMk id="7" creationId="{C7C44012-34AF-4A41-AB3B-E15A72A847F9}"/>
          </ac:picMkLst>
        </pc:picChg>
        <pc:picChg chg="add mod">
          <ac:chgData name="Ziter, Timothy" userId="d05d3a43-c08b-4bf4-957b-eacc6ecc84fa" providerId="ADAL" clId="{B5639068-6E70-497A-814B-B5DC99DC97ED}" dt="2022-11-01T22:06:04.972" v="377" actId="14100"/>
          <ac:picMkLst>
            <pc:docMk/>
            <pc:sldMk cId="1569575288" sldId="281"/>
            <ac:picMk id="8" creationId="{662CEF40-7559-4310-AD29-B4EE03DA0CFE}"/>
          </ac:picMkLst>
        </pc:picChg>
      </pc:sldChg>
      <pc:sldChg chg="addSp delSp modSp add mod">
        <pc:chgData name="Ziter, Timothy" userId="d05d3a43-c08b-4bf4-957b-eacc6ecc84fa" providerId="ADAL" clId="{B5639068-6E70-497A-814B-B5DC99DC97ED}" dt="2022-11-01T22:12:01.836" v="658"/>
        <pc:sldMkLst>
          <pc:docMk/>
          <pc:sldMk cId="2929395638" sldId="282"/>
        </pc:sldMkLst>
        <pc:spChg chg="add mod">
          <ac:chgData name="Ziter, Timothy" userId="d05d3a43-c08b-4bf4-957b-eacc6ecc84fa" providerId="ADAL" clId="{B5639068-6E70-497A-814B-B5DC99DC97ED}" dt="2022-11-01T22:09:38.816" v="561" actId="1035"/>
          <ac:spMkLst>
            <pc:docMk/>
            <pc:sldMk cId="2929395638" sldId="282"/>
            <ac:spMk id="11" creationId="{0729FB74-A8FF-438E-86EF-530C3346F0DF}"/>
          </ac:spMkLst>
        </pc:spChg>
        <pc:spChg chg="add mod">
          <ac:chgData name="Ziter, Timothy" userId="d05d3a43-c08b-4bf4-957b-eacc6ecc84fa" providerId="ADAL" clId="{B5639068-6E70-497A-814B-B5DC99DC97ED}" dt="2022-11-01T22:10:19.485" v="584" actId="1076"/>
          <ac:spMkLst>
            <pc:docMk/>
            <pc:sldMk cId="2929395638" sldId="282"/>
            <ac:spMk id="12" creationId="{F47D5083-3C21-42A8-9183-BD369C13EFF4}"/>
          </ac:spMkLst>
        </pc:spChg>
        <pc:spChg chg="add mod">
          <ac:chgData name="Ziter, Timothy" userId="d05d3a43-c08b-4bf4-957b-eacc6ecc84fa" providerId="ADAL" clId="{B5639068-6E70-497A-814B-B5DC99DC97ED}" dt="2022-11-01T22:10:33.026" v="596" actId="20577"/>
          <ac:spMkLst>
            <pc:docMk/>
            <pc:sldMk cId="2929395638" sldId="282"/>
            <ac:spMk id="13" creationId="{4AA384E9-D69C-4880-B665-8AD98D718422}"/>
          </ac:spMkLst>
        </pc:spChg>
        <pc:spChg chg="mod">
          <ac:chgData name="Ziter, Timothy" userId="d05d3a43-c08b-4bf4-957b-eacc6ecc84fa" providerId="ADAL" clId="{B5639068-6E70-497A-814B-B5DC99DC97ED}" dt="2022-11-01T22:09:38.816" v="561" actId="1035"/>
          <ac:spMkLst>
            <pc:docMk/>
            <pc:sldMk cId="2929395638" sldId="282"/>
            <ac:spMk id="404" creationId="{00000000-0000-0000-0000-000000000000}"/>
          </ac:spMkLst>
        </pc:spChg>
        <pc:spChg chg="mod">
          <ac:chgData name="Ziter, Timothy" userId="d05d3a43-c08b-4bf4-957b-eacc6ecc84fa" providerId="ADAL" clId="{B5639068-6E70-497A-814B-B5DC99DC97ED}" dt="2022-11-01T22:12:01.341" v="655" actId="20577"/>
          <ac:spMkLst>
            <pc:docMk/>
            <pc:sldMk cId="2929395638" sldId="282"/>
            <ac:spMk id="405" creationId="{00000000-0000-0000-0000-000000000000}"/>
          </ac:spMkLst>
        </pc:spChg>
        <pc:grpChg chg="mod">
          <ac:chgData name="Ziter, Timothy" userId="d05d3a43-c08b-4bf4-957b-eacc6ecc84fa" providerId="ADAL" clId="{B5639068-6E70-497A-814B-B5DC99DC97ED}" dt="2022-11-01T22:06:17.939" v="379"/>
          <ac:grpSpMkLst>
            <pc:docMk/>
            <pc:sldMk cId="2929395638" sldId="282"/>
            <ac:grpSpMk id="1" creationId="{00000000-0000-0000-0000-000000000000}"/>
          </ac:grpSpMkLst>
        </pc:grpChg>
        <pc:graphicFrameChg chg="mod">
          <ac:chgData name="Ziter, Timothy" userId="d05d3a43-c08b-4bf4-957b-eacc6ecc84fa" providerId="ADAL" clId="{B5639068-6E70-497A-814B-B5DC99DC97ED}" dt="2022-11-01T22:12:01.836" v="658"/>
          <ac:graphicFrameMkLst>
            <pc:docMk/>
            <pc:sldMk cId="2929395638" sldId="282"/>
            <ac:graphicFrameMk id="2" creationId="{E8A453E0-8ADD-4165-9B2C-09F5AB61ABB9}"/>
          </ac:graphicFrameMkLst>
        </pc:graphicFrameChg>
        <pc:picChg chg="add mod">
          <ac:chgData name="Ziter, Timothy" userId="d05d3a43-c08b-4bf4-957b-eacc6ecc84fa" providerId="ADAL" clId="{B5639068-6E70-497A-814B-B5DC99DC97ED}" dt="2022-11-01T22:09:38.816" v="561" actId="1035"/>
          <ac:picMkLst>
            <pc:docMk/>
            <pc:sldMk cId="2929395638" sldId="282"/>
            <ac:picMk id="6" creationId="{09C4016D-247C-4C65-B11C-0CB7B14D11FD}"/>
          </ac:picMkLst>
        </pc:picChg>
        <pc:picChg chg="add mod">
          <ac:chgData name="Ziter, Timothy" userId="d05d3a43-c08b-4bf4-957b-eacc6ecc84fa" providerId="ADAL" clId="{B5639068-6E70-497A-814B-B5DC99DC97ED}" dt="2022-11-01T22:09:38.816" v="561" actId="1035"/>
          <ac:picMkLst>
            <pc:docMk/>
            <pc:sldMk cId="2929395638" sldId="282"/>
            <ac:picMk id="7" creationId="{354F70C2-1727-4078-B2E3-B9F910077140}"/>
          </ac:picMkLst>
        </pc:picChg>
        <pc:picChg chg="del mod">
          <ac:chgData name="Ziter, Timothy" userId="d05d3a43-c08b-4bf4-957b-eacc6ecc84fa" providerId="ADAL" clId="{B5639068-6E70-497A-814B-B5DC99DC97ED}" dt="2022-11-01T22:06:24.570" v="380" actId="478"/>
          <ac:picMkLst>
            <pc:docMk/>
            <pc:sldMk cId="2929395638" sldId="282"/>
            <ac:picMk id="8" creationId="{662CEF40-7559-4310-AD29-B4EE03DA0CFE}"/>
          </ac:picMkLst>
        </pc:picChg>
        <pc:picChg chg="add mod">
          <ac:chgData name="Ziter, Timothy" userId="d05d3a43-c08b-4bf4-957b-eacc6ecc84fa" providerId="ADAL" clId="{B5639068-6E70-497A-814B-B5DC99DC97ED}" dt="2022-11-01T22:09:38.816" v="561" actId="1035"/>
          <ac:picMkLst>
            <pc:docMk/>
            <pc:sldMk cId="2929395638" sldId="282"/>
            <ac:picMk id="9" creationId="{FE0A3DD9-896A-44EC-9312-E49B5DB22ACE}"/>
          </ac:picMkLst>
        </pc:picChg>
        <pc:picChg chg="add mod">
          <ac:chgData name="Ziter, Timothy" userId="d05d3a43-c08b-4bf4-957b-eacc6ecc84fa" providerId="ADAL" clId="{B5639068-6E70-497A-814B-B5DC99DC97ED}" dt="2022-11-01T22:09:38.816" v="561" actId="1035"/>
          <ac:picMkLst>
            <pc:docMk/>
            <pc:sldMk cId="2929395638" sldId="282"/>
            <ac:picMk id="10" creationId="{5021E032-46F7-4391-A1C9-E7378EA43938}"/>
          </ac:picMkLst>
        </pc:picChg>
      </pc:sldChg>
      <pc:sldChg chg="addSp delSp modSp add mod">
        <pc:chgData name="Ziter, Timothy" userId="d05d3a43-c08b-4bf4-957b-eacc6ecc84fa" providerId="ADAL" clId="{B5639068-6E70-497A-814B-B5DC99DC97ED}" dt="2022-11-01T22:14:27.815" v="676" actId="14734"/>
        <pc:sldMkLst>
          <pc:docMk/>
          <pc:sldMk cId="2609368254" sldId="283"/>
        </pc:sldMkLst>
        <pc:spChg chg="add del mod">
          <ac:chgData name="Ziter, Timothy" userId="d05d3a43-c08b-4bf4-957b-eacc6ecc84fa" providerId="ADAL" clId="{B5639068-6E70-497A-814B-B5DC99DC97ED}" dt="2022-11-01T22:11:01.519" v="600" actId="478"/>
          <ac:spMkLst>
            <pc:docMk/>
            <pc:sldMk cId="2609368254" sldId="283"/>
            <ac:spMk id="3" creationId="{8BC5E310-E8F2-47BE-9C9D-2296B8E3CE79}"/>
          </ac:spMkLst>
        </pc:spChg>
        <pc:spChg chg="del mod">
          <ac:chgData name="Ziter, Timothy" userId="d05d3a43-c08b-4bf4-957b-eacc6ecc84fa" providerId="ADAL" clId="{B5639068-6E70-497A-814B-B5DC99DC97ED}" dt="2022-11-01T22:10:57.266" v="599" actId="478"/>
          <ac:spMkLst>
            <pc:docMk/>
            <pc:sldMk cId="2609368254" sldId="283"/>
            <ac:spMk id="11" creationId="{0729FB74-A8FF-438E-86EF-530C3346F0DF}"/>
          </ac:spMkLst>
        </pc:spChg>
        <pc:spChg chg="del mod">
          <ac:chgData name="Ziter, Timothy" userId="d05d3a43-c08b-4bf4-957b-eacc6ecc84fa" providerId="ADAL" clId="{B5639068-6E70-497A-814B-B5DC99DC97ED}" dt="2022-11-01T22:10:57.266" v="599" actId="478"/>
          <ac:spMkLst>
            <pc:docMk/>
            <pc:sldMk cId="2609368254" sldId="283"/>
            <ac:spMk id="12" creationId="{F47D5083-3C21-42A8-9183-BD369C13EFF4}"/>
          </ac:spMkLst>
        </pc:spChg>
        <pc:spChg chg="del mod">
          <ac:chgData name="Ziter, Timothy" userId="d05d3a43-c08b-4bf4-957b-eacc6ecc84fa" providerId="ADAL" clId="{B5639068-6E70-497A-814B-B5DC99DC97ED}" dt="2022-11-01T22:10:57.266" v="599" actId="478"/>
          <ac:spMkLst>
            <pc:docMk/>
            <pc:sldMk cId="2609368254" sldId="283"/>
            <ac:spMk id="13" creationId="{4AA384E9-D69C-4880-B665-8AD98D718422}"/>
          </ac:spMkLst>
        </pc:spChg>
        <pc:spChg chg="del mod">
          <ac:chgData name="Ziter, Timothy" userId="d05d3a43-c08b-4bf4-957b-eacc6ecc84fa" providerId="ADAL" clId="{B5639068-6E70-497A-814B-B5DC99DC97ED}" dt="2022-11-01T22:10:57.266" v="599" actId="478"/>
          <ac:spMkLst>
            <pc:docMk/>
            <pc:sldMk cId="2609368254" sldId="283"/>
            <ac:spMk id="404" creationId="{00000000-0000-0000-0000-000000000000}"/>
          </ac:spMkLst>
        </pc:spChg>
        <pc:spChg chg="mod">
          <ac:chgData name="Ziter, Timothy" userId="d05d3a43-c08b-4bf4-957b-eacc6ecc84fa" providerId="ADAL" clId="{B5639068-6E70-497A-814B-B5DC99DC97ED}" dt="2022-11-01T22:11:45.839" v="626" actId="20577"/>
          <ac:spMkLst>
            <pc:docMk/>
            <pc:sldMk cId="2609368254" sldId="283"/>
            <ac:spMk id="405" creationId="{00000000-0000-0000-0000-000000000000}"/>
          </ac:spMkLst>
        </pc:spChg>
        <pc:grpChg chg="mod">
          <ac:chgData name="Ziter, Timothy" userId="d05d3a43-c08b-4bf4-957b-eacc6ecc84fa" providerId="ADAL" clId="{B5639068-6E70-497A-814B-B5DC99DC97ED}" dt="2022-11-01T22:10:48.030" v="598"/>
          <ac:grpSpMkLst>
            <pc:docMk/>
            <pc:sldMk cId="2609368254" sldId="283"/>
            <ac:grpSpMk id="1" creationId="{00000000-0000-0000-0000-000000000000}"/>
          </ac:grpSpMkLst>
        </pc:grpChg>
        <pc:graphicFrameChg chg="mod">
          <ac:chgData name="Ziter, Timothy" userId="d05d3a43-c08b-4bf4-957b-eacc6ecc84fa" providerId="ADAL" clId="{B5639068-6E70-497A-814B-B5DC99DC97ED}" dt="2022-11-01T22:11:46.336" v="629"/>
          <ac:graphicFrameMkLst>
            <pc:docMk/>
            <pc:sldMk cId="2609368254" sldId="283"/>
            <ac:graphicFrameMk id="2" creationId="{E8A453E0-8ADD-4165-9B2C-09F5AB61ABB9}"/>
          </ac:graphicFrameMkLst>
        </pc:graphicFrameChg>
        <pc:graphicFrameChg chg="add mod modGraphic">
          <ac:chgData name="Ziter, Timothy" userId="d05d3a43-c08b-4bf4-957b-eacc6ecc84fa" providerId="ADAL" clId="{B5639068-6E70-497A-814B-B5DC99DC97ED}" dt="2022-11-01T22:14:27.815" v="676" actId="14734"/>
          <ac:graphicFrameMkLst>
            <pc:docMk/>
            <pc:sldMk cId="2609368254" sldId="283"/>
            <ac:graphicFrameMk id="14" creationId="{424B288B-3EC3-43C2-8F1D-0E9424B91B31}"/>
          </ac:graphicFrameMkLst>
        </pc:graphicFrameChg>
        <pc:picChg chg="del mod">
          <ac:chgData name="Ziter, Timothy" userId="d05d3a43-c08b-4bf4-957b-eacc6ecc84fa" providerId="ADAL" clId="{B5639068-6E70-497A-814B-B5DC99DC97ED}" dt="2022-11-01T22:10:57.266" v="599" actId="478"/>
          <ac:picMkLst>
            <pc:docMk/>
            <pc:sldMk cId="2609368254" sldId="283"/>
            <ac:picMk id="6" creationId="{09C4016D-247C-4C65-B11C-0CB7B14D11FD}"/>
          </ac:picMkLst>
        </pc:picChg>
        <pc:picChg chg="del mod">
          <ac:chgData name="Ziter, Timothy" userId="d05d3a43-c08b-4bf4-957b-eacc6ecc84fa" providerId="ADAL" clId="{B5639068-6E70-497A-814B-B5DC99DC97ED}" dt="2022-11-01T22:10:57.266" v="599" actId="478"/>
          <ac:picMkLst>
            <pc:docMk/>
            <pc:sldMk cId="2609368254" sldId="283"/>
            <ac:picMk id="7" creationId="{354F70C2-1727-4078-B2E3-B9F910077140}"/>
          </ac:picMkLst>
        </pc:picChg>
        <pc:picChg chg="del mod">
          <ac:chgData name="Ziter, Timothy" userId="d05d3a43-c08b-4bf4-957b-eacc6ecc84fa" providerId="ADAL" clId="{B5639068-6E70-497A-814B-B5DC99DC97ED}" dt="2022-11-01T22:10:57.266" v="599" actId="478"/>
          <ac:picMkLst>
            <pc:docMk/>
            <pc:sldMk cId="2609368254" sldId="283"/>
            <ac:picMk id="9" creationId="{FE0A3DD9-896A-44EC-9312-E49B5DB22ACE}"/>
          </ac:picMkLst>
        </pc:picChg>
        <pc:picChg chg="del mod">
          <ac:chgData name="Ziter, Timothy" userId="d05d3a43-c08b-4bf4-957b-eacc6ecc84fa" providerId="ADAL" clId="{B5639068-6E70-497A-814B-B5DC99DC97ED}" dt="2022-11-01T22:10:57.266" v="599" actId="478"/>
          <ac:picMkLst>
            <pc:docMk/>
            <pc:sldMk cId="2609368254" sldId="283"/>
            <ac:picMk id="10" creationId="{5021E032-46F7-4391-A1C9-E7378EA43938}"/>
          </ac:picMkLst>
        </pc:picChg>
      </pc:sldChg>
      <pc:sldChg chg="addSp delSp modSp add mod ord">
        <pc:chgData name="Ziter, Timothy" userId="d05d3a43-c08b-4bf4-957b-eacc6ecc84fa" providerId="ADAL" clId="{B5639068-6E70-497A-814B-B5DC99DC97ED}" dt="2022-11-02T10:27:12.344" v="4070"/>
        <pc:sldMkLst>
          <pc:docMk/>
          <pc:sldMk cId="4158091906" sldId="284"/>
        </pc:sldMkLst>
        <pc:spChg chg="add mod">
          <ac:chgData name="Ziter, Timothy" userId="d05d3a43-c08b-4bf4-957b-eacc6ecc84fa" providerId="ADAL" clId="{B5639068-6E70-497A-814B-B5DC99DC97ED}" dt="2022-11-01T22:16:07.534" v="714" actId="1076"/>
          <ac:spMkLst>
            <pc:docMk/>
            <pc:sldMk cId="4158091906" sldId="284"/>
            <ac:spMk id="11" creationId="{5721E408-24EC-4BAE-BC23-863B6AB96F52}"/>
          </ac:spMkLst>
        </pc:spChg>
        <pc:spChg chg="mod">
          <ac:chgData name="Ziter, Timothy" userId="d05d3a43-c08b-4bf4-957b-eacc6ecc84fa" providerId="ADAL" clId="{B5639068-6E70-497A-814B-B5DC99DC97ED}" dt="2022-11-01T22:15:11.649" v="690" actId="27636"/>
          <ac:spMkLst>
            <pc:docMk/>
            <pc:sldMk cId="4158091906" sldId="284"/>
            <ac:spMk id="404" creationId="{00000000-0000-0000-0000-000000000000}"/>
          </ac:spMkLst>
        </pc:spChg>
        <pc:spChg chg="mod">
          <ac:chgData name="Ziter, Timothy" userId="d05d3a43-c08b-4bf4-957b-eacc6ecc84fa" providerId="ADAL" clId="{B5639068-6E70-497A-814B-B5DC99DC97ED}" dt="2022-11-02T10:27:11.836" v="4067" actId="20577"/>
          <ac:spMkLst>
            <pc:docMk/>
            <pc:sldMk cId="4158091906" sldId="284"/>
            <ac:spMk id="405" creationId="{00000000-0000-0000-0000-000000000000}"/>
          </ac:spMkLst>
        </pc:spChg>
        <pc:grpChg chg="mod">
          <ac:chgData name="Ziter, Timothy" userId="d05d3a43-c08b-4bf4-957b-eacc6ecc84fa" providerId="ADAL" clId="{B5639068-6E70-497A-814B-B5DC99DC97ED}" dt="2022-11-01T22:14:40.904" v="678"/>
          <ac:grpSpMkLst>
            <pc:docMk/>
            <pc:sldMk cId="4158091906" sldId="284"/>
            <ac:grpSpMk id="1" creationId="{00000000-0000-0000-0000-000000000000}"/>
          </ac:grpSpMkLst>
        </pc:grpChg>
        <pc:graphicFrameChg chg="mod">
          <ac:chgData name="Ziter, Timothy" userId="d05d3a43-c08b-4bf4-957b-eacc6ecc84fa" providerId="ADAL" clId="{B5639068-6E70-497A-814B-B5DC99DC97ED}" dt="2022-11-02T10:27:12.344" v="4070"/>
          <ac:graphicFrameMkLst>
            <pc:docMk/>
            <pc:sldMk cId="4158091906" sldId="284"/>
            <ac:graphicFrameMk id="2" creationId="{E8A453E0-8ADD-4165-9B2C-09F5AB61ABB9}"/>
          </ac:graphicFrameMkLst>
        </pc:graphicFrameChg>
        <pc:picChg chg="add mod">
          <ac:chgData name="Ziter, Timothy" userId="d05d3a43-c08b-4bf4-957b-eacc6ecc84fa" providerId="ADAL" clId="{B5639068-6E70-497A-814B-B5DC99DC97ED}" dt="2022-11-01T22:14:59.323" v="686" actId="1076"/>
          <ac:picMkLst>
            <pc:docMk/>
            <pc:sldMk cId="4158091906" sldId="284"/>
            <ac:picMk id="6" creationId="{D453726F-15D0-42EB-8BAA-940F354D4B54}"/>
          </ac:picMkLst>
        </pc:picChg>
        <pc:picChg chg="add mod">
          <ac:chgData name="Ziter, Timothy" userId="d05d3a43-c08b-4bf4-957b-eacc6ecc84fa" providerId="ADAL" clId="{B5639068-6E70-497A-814B-B5DC99DC97ED}" dt="2022-11-01T22:15:46.972" v="698" actId="1076"/>
          <ac:picMkLst>
            <pc:docMk/>
            <pc:sldMk cId="4158091906" sldId="284"/>
            <ac:picMk id="7" creationId="{8B806569-FA38-4E56-AADE-0799BCC33238}"/>
          </ac:picMkLst>
        </pc:picChg>
        <pc:picChg chg="del mod">
          <ac:chgData name="Ziter, Timothy" userId="d05d3a43-c08b-4bf4-957b-eacc6ecc84fa" providerId="ADAL" clId="{B5639068-6E70-497A-814B-B5DC99DC97ED}" dt="2022-11-01T22:14:50.974" v="683" actId="478"/>
          <ac:picMkLst>
            <pc:docMk/>
            <pc:sldMk cId="4158091906" sldId="284"/>
            <ac:picMk id="8" creationId="{662CEF40-7559-4310-AD29-B4EE03DA0CFE}"/>
          </ac:picMkLst>
        </pc:picChg>
        <pc:picChg chg="add del mod">
          <ac:chgData name="Ziter, Timothy" userId="d05d3a43-c08b-4bf4-957b-eacc6ecc84fa" providerId="ADAL" clId="{B5639068-6E70-497A-814B-B5DC99DC97ED}" dt="2022-11-01T22:15:38.909" v="695" actId="478"/>
          <ac:picMkLst>
            <pc:docMk/>
            <pc:sldMk cId="4158091906" sldId="284"/>
            <ac:picMk id="9" creationId="{18B2266F-6F09-49C4-80A0-BBAD00AA9A02}"/>
          </ac:picMkLst>
        </pc:picChg>
        <pc:picChg chg="add del mod">
          <ac:chgData name="Ziter, Timothy" userId="d05d3a43-c08b-4bf4-957b-eacc6ecc84fa" providerId="ADAL" clId="{B5639068-6E70-497A-814B-B5DC99DC97ED}" dt="2022-11-01T22:15:38.332" v="694" actId="478"/>
          <ac:picMkLst>
            <pc:docMk/>
            <pc:sldMk cId="4158091906" sldId="284"/>
            <ac:picMk id="10" creationId="{41626FE8-2145-4847-A326-F2356B5917B7}"/>
          </ac:picMkLst>
        </pc:picChg>
      </pc:sldChg>
      <pc:sldChg chg="addSp delSp modSp add mod">
        <pc:chgData name="Ziter, Timothy" userId="d05d3a43-c08b-4bf4-957b-eacc6ecc84fa" providerId="ADAL" clId="{B5639068-6E70-497A-814B-B5DC99DC97ED}" dt="2022-11-01T22:29:51.728" v="1353" actId="27636"/>
        <pc:sldMkLst>
          <pc:docMk/>
          <pc:sldMk cId="1342972135" sldId="285"/>
        </pc:sldMkLst>
        <pc:spChg chg="del mod">
          <ac:chgData name="Ziter, Timothy" userId="d05d3a43-c08b-4bf4-957b-eacc6ecc84fa" providerId="ADAL" clId="{B5639068-6E70-497A-814B-B5DC99DC97ED}" dt="2022-11-01T22:24:05.501" v="1052" actId="478"/>
          <ac:spMkLst>
            <pc:docMk/>
            <pc:sldMk cId="1342972135" sldId="285"/>
            <ac:spMk id="6" creationId="{8FE7656D-A516-405A-8846-5FEFF41CD045}"/>
          </ac:spMkLst>
        </pc:spChg>
        <pc:spChg chg="mod">
          <ac:chgData name="Ziter, Timothy" userId="d05d3a43-c08b-4bf4-957b-eacc6ecc84fa" providerId="ADAL" clId="{B5639068-6E70-497A-814B-B5DC99DC97ED}" dt="2022-11-01T22:22:34.328" v="1005" actId="20577"/>
          <ac:spMkLst>
            <pc:docMk/>
            <pc:sldMk cId="1342972135" sldId="285"/>
            <ac:spMk id="7" creationId="{74AA617D-8219-4F65-AF47-6C3E66D6D26E}"/>
          </ac:spMkLst>
        </pc:spChg>
        <pc:spChg chg="mod">
          <ac:chgData name="Ziter, Timothy" userId="d05d3a43-c08b-4bf4-957b-eacc6ecc84fa" providerId="ADAL" clId="{B5639068-6E70-497A-814B-B5DC99DC97ED}" dt="2022-11-01T22:27:21.212" v="1300" actId="20577"/>
          <ac:spMkLst>
            <pc:docMk/>
            <pc:sldMk cId="1342972135" sldId="285"/>
            <ac:spMk id="11" creationId="{BF394AAC-495D-4337-8DC5-3198EEA8D27F}"/>
          </ac:spMkLst>
        </pc:spChg>
        <pc:spChg chg="mod">
          <ac:chgData name="Ziter, Timothy" userId="d05d3a43-c08b-4bf4-957b-eacc6ecc84fa" providerId="ADAL" clId="{B5639068-6E70-497A-814B-B5DC99DC97ED}" dt="2022-11-01T22:27:27.002" v="1311" actId="20577"/>
          <ac:spMkLst>
            <pc:docMk/>
            <pc:sldMk cId="1342972135" sldId="285"/>
            <ac:spMk id="12" creationId="{EE20109F-0C11-4467-9232-876FF5EAD88B}"/>
          </ac:spMkLst>
        </pc:spChg>
        <pc:spChg chg="mod">
          <ac:chgData name="Ziter, Timothy" userId="d05d3a43-c08b-4bf4-957b-eacc6ecc84fa" providerId="ADAL" clId="{B5639068-6E70-497A-814B-B5DC99DC97ED}" dt="2022-11-01T22:27:36.459" v="1326" actId="20577"/>
          <ac:spMkLst>
            <pc:docMk/>
            <pc:sldMk cId="1342972135" sldId="285"/>
            <ac:spMk id="13" creationId="{40E0A525-CC27-4DAE-BB1D-69E7EBD4BCB5}"/>
          </ac:spMkLst>
        </pc:spChg>
        <pc:spChg chg="add mod">
          <ac:chgData name="Ziter, Timothy" userId="d05d3a43-c08b-4bf4-957b-eacc6ecc84fa" providerId="ADAL" clId="{B5639068-6E70-497A-814B-B5DC99DC97ED}" dt="2022-11-01T22:29:51.728" v="1353" actId="27636"/>
          <ac:spMkLst>
            <pc:docMk/>
            <pc:sldMk cId="1342972135" sldId="285"/>
            <ac:spMk id="14" creationId="{7EBAFEA2-55BF-4B8E-8416-9B4B72881867}"/>
          </ac:spMkLst>
        </pc:spChg>
        <pc:grpChg chg="mod">
          <ac:chgData name="Ziter, Timothy" userId="d05d3a43-c08b-4bf4-957b-eacc6ecc84fa" providerId="ADAL" clId="{B5639068-6E70-497A-814B-B5DC99DC97ED}" dt="2022-11-01T22:22:24.579" v="986"/>
          <ac:grpSpMkLst>
            <pc:docMk/>
            <pc:sldMk cId="1342972135" sldId="285"/>
            <ac:grpSpMk id="1" creationId="{00000000-0000-0000-0000-000000000000}"/>
          </ac:grpSpMkLst>
        </pc:grpChg>
        <pc:graphicFrameChg chg="mod">
          <ac:chgData name="Ziter, Timothy" userId="d05d3a43-c08b-4bf4-957b-eacc6ecc84fa" providerId="ADAL" clId="{B5639068-6E70-497A-814B-B5DC99DC97ED}" dt="2022-11-01T22:22:34.829" v="1008"/>
          <ac:graphicFrameMkLst>
            <pc:docMk/>
            <pc:sldMk cId="1342972135" sldId="285"/>
            <ac:graphicFrameMk id="2" creationId="{F05424D2-5A7B-43E2-860C-0F35FD90AF14}"/>
          </ac:graphicFrameMkLst>
        </pc:graphicFrameChg>
        <pc:picChg chg="del mod">
          <ac:chgData name="Ziter, Timothy" userId="d05d3a43-c08b-4bf4-957b-eacc6ecc84fa" providerId="ADAL" clId="{B5639068-6E70-497A-814B-B5DC99DC97ED}" dt="2022-11-01T22:27:42.075" v="1329" actId="478"/>
          <ac:picMkLst>
            <pc:docMk/>
            <pc:sldMk cId="1342972135" sldId="285"/>
            <ac:picMk id="8" creationId="{4BD3C5B2-DC43-413E-8556-7B4396B02AE0}"/>
          </ac:picMkLst>
        </pc:picChg>
        <pc:picChg chg="del mod">
          <ac:chgData name="Ziter, Timothy" userId="d05d3a43-c08b-4bf4-957b-eacc6ecc84fa" providerId="ADAL" clId="{B5639068-6E70-497A-814B-B5DC99DC97ED}" dt="2022-11-01T22:27:40.399" v="1327" actId="478"/>
          <ac:picMkLst>
            <pc:docMk/>
            <pc:sldMk cId="1342972135" sldId="285"/>
            <ac:picMk id="9" creationId="{0B304148-B193-4246-924F-80C56F147819}"/>
          </ac:picMkLst>
        </pc:picChg>
        <pc:picChg chg="del mod">
          <ac:chgData name="Ziter, Timothy" userId="d05d3a43-c08b-4bf4-957b-eacc6ecc84fa" providerId="ADAL" clId="{B5639068-6E70-497A-814B-B5DC99DC97ED}" dt="2022-11-01T22:27:41.296" v="1328" actId="478"/>
          <ac:picMkLst>
            <pc:docMk/>
            <pc:sldMk cId="1342972135" sldId="285"/>
            <ac:picMk id="10" creationId="{1EA02115-EFF4-4023-B1A3-714F9F3E96F6}"/>
          </ac:picMkLst>
        </pc:picChg>
        <pc:picChg chg="add mod">
          <ac:chgData name="Ziter, Timothy" userId="d05d3a43-c08b-4bf4-957b-eacc6ecc84fa" providerId="ADAL" clId="{B5639068-6E70-497A-814B-B5DC99DC97ED}" dt="2022-11-01T22:27:59.810" v="1332" actId="1076"/>
          <ac:picMkLst>
            <pc:docMk/>
            <pc:sldMk cId="1342972135" sldId="285"/>
            <ac:picMk id="15" creationId="{67E10853-BAB8-49D8-AF34-F4C87A240AD5}"/>
          </ac:picMkLst>
        </pc:picChg>
        <pc:picChg chg="add mod">
          <ac:chgData name="Ziter, Timothy" userId="d05d3a43-c08b-4bf4-957b-eacc6ecc84fa" providerId="ADAL" clId="{B5639068-6E70-497A-814B-B5DC99DC97ED}" dt="2022-11-01T22:28:21.246" v="1340" actId="1076"/>
          <ac:picMkLst>
            <pc:docMk/>
            <pc:sldMk cId="1342972135" sldId="285"/>
            <ac:picMk id="16" creationId="{041E3EAB-0846-4AEF-8D16-2371AB4EECD6}"/>
          </ac:picMkLst>
        </pc:picChg>
        <pc:picChg chg="add mod">
          <ac:chgData name="Ziter, Timothy" userId="d05d3a43-c08b-4bf4-957b-eacc6ecc84fa" providerId="ADAL" clId="{B5639068-6E70-497A-814B-B5DC99DC97ED}" dt="2022-11-01T22:28:16.720" v="1338" actId="1076"/>
          <ac:picMkLst>
            <pc:docMk/>
            <pc:sldMk cId="1342972135" sldId="285"/>
            <ac:picMk id="17" creationId="{35E41242-3FBE-478D-B18D-4D6A49C3DCA0}"/>
          </ac:picMkLst>
        </pc:picChg>
      </pc:sldChg>
      <pc:sldChg chg="addSp delSp modSp add mod">
        <pc:chgData name="Ziter, Timothy" userId="d05d3a43-c08b-4bf4-957b-eacc6ecc84fa" providerId="ADAL" clId="{B5639068-6E70-497A-814B-B5DC99DC97ED}" dt="2022-11-01T22:30:57.024" v="1384" actId="1076"/>
        <pc:sldMkLst>
          <pc:docMk/>
          <pc:sldMk cId="4143790099" sldId="286"/>
        </pc:sldMkLst>
        <pc:spChg chg="mod">
          <ac:chgData name="Ziter, Timothy" userId="d05d3a43-c08b-4bf4-957b-eacc6ecc84fa" providerId="ADAL" clId="{B5639068-6E70-497A-814B-B5DC99DC97ED}" dt="2022-11-01T22:28:32.248" v="1342"/>
          <ac:spMkLst>
            <pc:docMk/>
            <pc:sldMk cId="4143790099" sldId="286"/>
            <ac:spMk id="7" creationId="{74AA617D-8219-4F65-AF47-6C3E66D6D26E}"/>
          </ac:spMkLst>
        </pc:spChg>
        <pc:spChg chg="mod">
          <ac:chgData name="Ziter, Timothy" userId="d05d3a43-c08b-4bf4-957b-eacc6ecc84fa" providerId="ADAL" clId="{B5639068-6E70-497A-814B-B5DC99DC97ED}" dt="2022-11-01T22:30:22.069" v="1366" actId="20577"/>
          <ac:spMkLst>
            <pc:docMk/>
            <pc:sldMk cId="4143790099" sldId="286"/>
            <ac:spMk id="11" creationId="{BF394AAC-495D-4337-8DC5-3198EEA8D27F}"/>
          </ac:spMkLst>
        </pc:spChg>
        <pc:spChg chg="mod">
          <ac:chgData name="Ziter, Timothy" userId="d05d3a43-c08b-4bf4-957b-eacc6ecc84fa" providerId="ADAL" clId="{B5639068-6E70-497A-814B-B5DC99DC97ED}" dt="2022-11-01T22:30:26.915" v="1375" actId="20577"/>
          <ac:spMkLst>
            <pc:docMk/>
            <pc:sldMk cId="4143790099" sldId="286"/>
            <ac:spMk id="12" creationId="{EE20109F-0C11-4467-9232-876FF5EAD88B}"/>
          </ac:spMkLst>
        </pc:spChg>
        <pc:spChg chg="del mod">
          <ac:chgData name="Ziter, Timothy" userId="d05d3a43-c08b-4bf4-957b-eacc6ecc84fa" providerId="ADAL" clId="{B5639068-6E70-497A-814B-B5DC99DC97ED}" dt="2022-11-01T22:30:31.680" v="1377" actId="478"/>
          <ac:spMkLst>
            <pc:docMk/>
            <pc:sldMk cId="4143790099" sldId="286"/>
            <ac:spMk id="13" creationId="{40E0A525-CC27-4DAE-BB1D-69E7EBD4BCB5}"/>
          </ac:spMkLst>
        </pc:spChg>
        <pc:spChg chg="mod">
          <ac:chgData name="Ziter, Timothy" userId="d05d3a43-c08b-4bf4-957b-eacc6ecc84fa" providerId="ADAL" clId="{B5639068-6E70-497A-814B-B5DC99DC97ED}" dt="2022-11-01T22:30:09.867" v="1356" actId="255"/>
          <ac:spMkLst>
            <pc:docMk/>
            <pc:sldMk cId="4143790099" sldId="286"/>
            <ac:spMk id="14" creationId="{7EBAFEA2-55BF-4B8E-8416-9B4B72881867}"/>
          </ac:spMkLst>
        </pc:spChg>
        <pc:grpChg chg="mod">
          <ac:chgData name="Ziter, Timothy" userId="d05d3a43-c08b-4bf4-957b-eacc6ecc84fa" providerId="ADAL" clId="{B5639068-6E70-497A-814B-B5DC99DC97ED}" dt="2022-11-01T22:28:32.248" v="1342"/>
          <ac:grpSpMkLst>
            <pc:docMk/>
            <pc:sldMk cId="4143790099" sldId="286"/>
            <ac:grpSpMk id="1" creationId="{00000000-0000-0000-0000-000000000000}"/>
          </ac:grpSpMkLst>
        </pc:grpChg>
        <pc:graphicFrameChg chg="mod">
          <ac:chgData name="Ziter, Timothy" userId="d05d3a43-c08b-4bf4-957b-eacc6ecc84fa" providerId="ADAL" clId="{B5639068-6E70-497A-814B-B5DC99DC97ED}" dt="2022-11-01T22:28:32.248" v="1342"/>
          <ac:graphicFrameMkLst>
            <pc:docMk/>
            <pc:sldMk cId="4143790099" sldId="286"/>
            <ac:graphicFrameMk id="2" creationId="{F05424D2-5A7B-43E2-860C-0F35FD90AF14}"/>
          </ac:graphicFrameMkLst>
        </pc:graphicFrameChg>
        <pc:picChg chg="del mod">
          <ac:chgData name="Ziter, Timothy" userId="d05d3a43-c08b-4bf4-957b-eacc6ecc84fa" providerId="ADAL" clId="{B5639068-6E70-497A-814B-B5DC99DC97ED}" dt="2022-11-01T22:30:34.097" v="1378" actId="478"/>
          <ac:picMkLst>
            <pc:docMk/>
            <pc:sldMk cId="4143790099" sldId="286"/>
            <ac:picMk id="15" creationId="{67E10853-BAB8-49D8-AF34-F4C87A240AD5}"/>
          </ac:picMkLst>
        </pc:picChg>
        <pc:picChg chg="del mod">
          <ac:chgData name="Ziter, Timothy" userId="d05d3a43-c08b-4bf4-957b-eacc6ecc84fa" providerId="ADAL" clId="{B5639068-6E70-497A-814B-B5DC99DC97ED}" dt="2022-11-01T22:30:34.805" v="1379" actId="478"/>
          <ac:picMkLst>
            <pc:docMk/>
            <pc:sldMk cId="4143790099" sldId="286"/>
            <ac:picMk id="16" creationId="{041E3EAB-0846-4AEF-8D16-2371AB4EECD6}"/>
          </ac:picMkLst>
        </pc:picChg>
        <pc:picChg chg="del mod">
          <ac:chgData name="Ziter, Timothy" userId="d05d3a43-c08b-4bf4-957b-eacc6ecc84fa" providerId="ADAL" clId="{B5639068-6E70-497A-814B-B5DC99DC97ED}" dt="2022-11-01T22:30:29.680" v="1376" actId="478"/>
          <ac:picMkLst>
            <pc:docMk/>
            <pc:sldMk cId="4143790099" sldId="286"/>
            <ac:picMk id="17" creationId="{35E41242-3FBE-478D-B18D-4D6A49C3DCA0}"/>
          </ac:picMkLst>
        </pc:picChg>
        <pc:picChg chg="add mod">
          <ac:chgData name="Ziter, Timothy" userId="d05d3a43-c08b-4bf4-957b-eacc6ecc84fa" providerId="ADAL" clId="{B5639068-6E70-497A-814B-B5DC99DC97ED}" dt="2022-11-01T22:30:53.676" v="1383" actId="1076"/>
          <ac:picMkLst>
            <pc:docMk/>
            <pc:sldMk cId="4143790099" sldId="286"/>
            <ac:picMk id="18" creationId="{243FC28C-811D-4582-97E8-91EAFE94EAC4}"/>
          </ac:picMkLst>
        </pc:picChg>
        <pc:picChg chg="add mod">
          <ac:chgData name="Ziter, Timothy" userId="d05d3a43-c08b-4bf4-957b-eacc6ecc84fa" providerId="ADAL" clId="{B5639068-6E70-497A-814B-B5DC99DC97ED}" dt="2022-11-01T22:30:57.024" v="1384" actId="1076"/>
          <ac:picMkLst>
            <pc:docMk/>
            <pc:sldMk cId="4143790099" sldId="286"/>
            <ac:picMk id="19" creationId="{F2645F83-A55D-4C1C-A07B-CE49C214EFE6}"/>
          </ac:picMkLst>
        </pc:picChg>
      </pc:sldChg>
      <pc:sldChg chg="addSp delSp modSp add mod ord">
        <pc:chgData name="Ziter, Timothy" userId="d05d3a43-c08b-4bf4-957b-eacc6ecc84fa" providerId="ADAL" clId="{B5639068-6E70-497A-814B-B5DC99DC97ED}" dt="2022-11-01T22:33:46.945" v="1485" actId="1076"/>
        <pc:sldMkLst>
          <pc:docMk/>
          <pc:sldMk cId="3394415676" sldId="287"/>
        </pc:sldMkLst>
        <pc:spChg chg="mod">
          <ac:chgData name="Ziter, Timothy" userId="d05d3a43-c08b-4bf4-957b-eacc6ecc84fa" providerId="ADAL" clId="{B5639068-6E70-497A-814B-B5DC99DC97ED}" dt="2022-11-01T22:31:07.577" v="1386"/>
          <ac:spMkLst>
            <pc:docMk/>
            <pc:sldMk cId="3394415676" sldId="287"/>
            <ac:spMk id="7" creationId="{74AA617D-8219-4F65-AF47-6C3E66D6D26E}"/>
          </ac:spMkLst>
        </pc:spChg>
        <pc:spChg chg="mod">
          <ac:chgData name="Ziter, Timothy" userId="d05d3a43-c08b-4bf4-957b-eacc6ecc84fa" providerId="ADAL" clId="{B5639068-6E70-497A-814B-B5DC99DC97ED}" dt="2022-11-01T22:32:49.489" v="1454" actId="20577"/>
          <ac:spMkLst>
            <pc:docMk/>
            <pc:sldMk cId="3394415676" sldId="287"/>
            <ac:spMk id="11" creationId="{BF394AAC-495D-4337-8DC5-3198EEA8D27F}"/>
          </ac:spMkLst>
        </pc:spChg>
        <pc:spChg chg="mod">
          <ac:chgData name="Ziter, Timothy" userId="d05d3a43-c08b-4bf4-957b-eacc6ecc84fa" providerId="ADAL" clId="{B5639068-6E70-497A-814B-B5DC99DC97ED}" dt="2022-11-01T22:33:26.686" v="1481" actId="1076"/>
          <ac:spMkLst>
            <pc:docMk/>
            <pc:sldMk cId="3394415676" sldId="287"/>
            <ac:spMk id="12" creationId="{EE20109F-0C11-4467-9232-876FF5EAD88B}"/>
          </ac:spMkLst>
        </pc:spChg>
        <pc:spChg chg="mod">
          <ac:chgData name="Ziter, Timothy" userId="d05d3a43-c08b-4bf4-957b-eacc6ecc84fa" providerId="ADAL" clId="{B5639068-6E70-497A-814B-B5DC99DC97ED}" dt="2022-11-01T22:33:31.781" v="1483" actId="1076"/>
          <ac:spMkLst>
            <pc:docMk/>
            <pc:sldMk cId="3394415676" sldId="287"/>
            <ac:spMk id="13" creationId="{40E0A525-CC27-4DAE-BB1D-69E7EBD4BCB5}"/>
          </ac:spMkLst>
        </pc:spChg>
        <pc:spChg chg="mod">
          <ac:chgData name="Ziter, Timothy" userId="d05d3a43-c08b-4bf4-957b-eacc6ecc84fa" providerId="ADAL" clId="{B5639068-6E70-497A-814B-B5DC99DC97ED}" dt="2022-11-01T22:32:26.499" v="1412" actId="255"/>
          <ac:spMkLst>
            <pc:docMk/>
            <pc:sldMk cId="3394415676" sldId="287"/>
            <ac:spMk id="14" creationId="{7EBAFEA2-55BF-4B8E-8416-9B4B72881867}"/>
          </ac:spMkLst>
        </pc:spChg>
        <pc:grpChg chg="mod">
          <ac:chgData name="Ziter, Timothy" userId="d05d3a43-c08b-4bf4-957b-eacc6ecc84fa" providerId="ADAL" clId="{B5639068-6E70-497A-814B-B5DC99DC97ED}" dt="2022-11-01T22:31:07.577" v="1386"/>
          <ac:grpSpMkLst>
            <pc:docMk/>
            <pc:sldMk cId="3394415676" sldId="287"/>
            <ac:grpSpMk id="1" creationId="{00000000-0000-0000-0000-000000000000}"/>
          </ac:grpSpMkLst>
        </pc:grpChg>
        <pc:graphicFrameChg chg="mod">
          <ac:chgData name="Ziter, Timothy" userId="d05d3a43-c08b-4bf4-957b-eacc6ecc84fa" providerId="ADAL" clId="{B5639068-6E70-497A-814B-B5DC99DC97ED}" dt="2022-11-01T22:31:07.577" v="1386"/>
          <ac:graphicFrameMkLst>
            <pc:docMk/>
            <pc:sldMk cId="3394415676" sldId="287"/>
            <ac:graphicFrameMk id="2" creationId="{F05424D2-5A7B-43E2-860C-0F35FD90AF14}"/>
          </ac:graphicFrameMkLst>
        </pc:graphicFrameChg>
        <pc:picChg chg="del mod">
          <ac:chgData name="Ziter, Timothy" userId="d05d3a43-c08b-4bf4-957b-eacc6ecc84fa" providerId="ADAL" clId="{B5639068-6E70-497A-814B-B5DC99DC97ED}" dt="2022-11-01T22:32:32.800" v="1413" actId="478"/>
          <ac:picMkLst>
            <pc:docMk/>
            <pc:sldMk cId="3394415676" sldId="287"/>
            <ac:picMk id="15" creationId="{67E10853-BAB8-49D8-AF34-F4C87A240AD5}"/>
          </ac:picMkLst>
        </pc:picChg>
        <pc:picChg chg="del mod">
          <ac:chgData name="Ziter, Timothy" userId="d05d3a43-c08b-4bf4-957b-eacc6ecc84fa" providerId="ADAL" clId="{B5639068-6E70-497A-814B-B5DC99DC97ED}" dt="2022-11-01T22:32:33.946" v="1414" actId="478"/>
          <ac:picMkLst>
            <pc:docMk/>
            <pc:sldMk cId="3394415676" sldId="287"/>
            <ac:picMk id="16" creationId="{041E3EAB-0846-4AEF-8D16-2371AB4EECD6}"/>
          </ac:picMkLst>
        </pc:picChg>
        <pc:picChg chg="del mod">
          <ac:chgData name="Ziter, Timothy" userId="d05d3a43-c08b-4bf4-957b-eacc6ecc84fa" providerId="ADAL" clId="{B5639068-6E70-497A-814B-B5DC99DC97ED}" dt="2022-11-01T22:32:35.223" v="1415" actId="478"/>
          <ac:picMkLst>
            <pc:docMk/>
            <pc:sldMk cId="3394415676" sldId="287"/>
            <ac:picMk id="17" creationId="{35E41242-3FBE-478D-B18D-4D6A49C3DCA0}"/>
          </ac:picMkLst>
        </pc:picChg>
        <pc:picChg chg="add mod">
          <ac:chgData name="Ziter, Timothy" userId="d05d3a43-c08b-4bf4-957b-eacc6ecc84fa" providerId="ADAL" clId="{B5639068-6E70-497A-814B-B5DC99DC97ED}" dt="2022-11-01T22:33:46.945" v="1485" actId="1076"/>
          <ac:picMkLst>
            <pc:docMk/>
            <pc:sldMk cId="3394415676" sldId="287"/>
            <ac:picMk id="18" creationId="{578BF2BB-BC22-4C6B-98EB-ED287E37E4F9}"/>
          </ac:picMkLst>
        </pc:picChg>
        <pc:picChg chg="add mod">
          <ac:chgData name="Ziter, Timothy" userId="d05d3a43-c08b-4bf4-957b-eacc6ecc84fa" providerId="ADAL" clId="{B5639068-6E70-497A-814B-B5DC99DC97ED}" dt="2022-11-01T22:33:28.979" v="1482" actId="1076"/>
          <ac:picMkLst>
            <pc:docMk/>
            <pc:sldMk cId="3394415676" sldId="287"/>
            <ac:picMk id="19" creationId="{E2D2C1BF-BB3C-43D8-83EF-0D471CFC8FE9}"/>
          </ac:picMkLst>
        </pc:picChg>
        <pc:picChg chg="add mod">
          <ac:chgData name="Ziter, Timothy" userId="d05d3a43-c08b-4bf4-957b-eacc6ecc84fa" providerId="ADAL" clId="{B5639068-6E70-497A-814B-B5DC99DC97ED}" dt="2022-11-01T22:33:36.732" v="1484" actId="1076"/>
          <ac:picMkLst>
            <pc:docMk/>
            <pc:sldMk cId="3394415676" sldId="287"/>
            <ac:picMk id="20" creationId="{BF334218-2052-40BA-AD3A-DF5C9142FF44}"/>
          </ac:picMkLst>
        </pc:picChg>
      </pc:sldChg>
      <pc:sldChg chg="addSp delSp modSp add mod ord">
        <pc:chgData name="Ziter, Timothy" userId="d05d3a43-c08b-4bf4-957b-eacc6ecc84fa" providerId="ADAL" clId="{B5639068-6E70-497A-814B-B5DC99DC97ED}" dt="2022-11-02T09:52:41.333" v="1600" actId="1037"/>
        <pc:sldMkLst>
          <pc:docMk/>
          <pc:sldMk cId="3524329266" sldId="288"/>
        </pc:sldMkLst>
        <pc:spChg chg="mod">
          <ac:chgData name="Ziter, Timothy" userId="d05d3a43-c08b-4bf4-957b-eacc6ecc84fa" providerId="ADAL" clId="{B5639068-6E70-497A-814B-B5DC99DC97ED}" dt="2022-11-02T09:50:38.078" v="1487"/>
          <ac:spMkLst>
            <pc:docMk/>
            <pc:sldMk cId="3524329266" sldId="288"/>
            <ac:spMk id="7" creationId="{74AA617D-8219-4F65-AF47-6C3E66D6D26E}"/>
          </ac:spMkLst>
        </pc:spChg>
        <pc:spChg chg="mod">
          <ac:chgData name="Ziter, Timothy" userId="d05d3a43-c08b-4bf4-957b-eacc6ecc84fa" providerId="ADAL" clId="{B5639068-6E70-497A-814B-B5DC99DC97ED}" dt="2022-11-02T09:51:59.632" v="1561" actId="20577"/>
          <ac:spMkLst>
            <pc:docMk/>
            <pc:sldMk cId="3524329266" sldId="288"/>
            <ac:spMk id="11" creationId="{BF394AAC-495D-4337-8DC5-3198EEA8D27F}"/>
          </ac:spMkLst>
        </pc:spChg>
        <pc:spChg chg="mod">
          <ac:chgData name="Ziter, Timothy" userId="d05d3a43-c08b-4bf4-957b-eacc6ecc84fa" providerId="ADAL" clId="{B5639068-6E70-497A-814B-B5DC99DC97ED}" dt="2022-11-02T09:52:06.669" v="1582" actId="20577"/>
          <ac:spMkLst>
            <pc:docMk/>
            <pc:sldMk cId="3524329266" sldId="288"/>
            <ac:spMk id="12" creationId="{EE20109F-0C11-4467-9232-876FF5EAD88B}"/>
          </ac:spMkLst>
        </pc:spChg>
        <pc:spChg chg="mod">
          <ac:chgData name="Ziter, Timothy" userId="d05d3a43-c08b-4bf4-957b-eacc6ecc84fa" providerId="ADAL" clId="{B5639068-6E70-497A-814B-B5DC99DC97ED}" dt="2022-11-02T09:51:48.132" v="1541" actId="20577"/>
          <ac:spMkLst>
            <pc:docMk/>
            <pc:sldMk cId="3524329266" sldId="288"/>
            <ac:spMk id="14" creationId="{7EBAFEA2-55BF-4B8E-8416-9B4B72881867}"/>
          </ac:spMkLst>
        </pc:spChg>
        <pc:grpChg chg="mod">
          <ac:chgData name="Ziter, Timothy" userId="d05d3a43-c08b-4bf4-957b-eacc6ecc84fa" providerId="ADAL" clId="{B5639068-6E70-497A-814B-B5DC99DC97ED}" dt="2022-11-02T09:50:38.078" v="1487"/>
          <ac:grpSpMkLst>
            <pc:docMk/>
            <pc:sldMk cId="3524329266" sldId="288"/>
            <ac:grpSpMk id="1" creationId="{00000000-0000-0000-0000-000000000000}"/>
          </ac:grpSpMkLst>
        </pc:grpChg>
        <pc:graphicFrameChg chg="mod">
          <ac:chgData name="Ziter, Timothy" userId="d05d3a43-c08b-4bf4-957b-eacc6ecc84fa" providerId="ADAL" clId="{B5639068-6E70-497A-814B-B5DC99DC97ED}" dt="2022-11-02T09:50:38.078" v="1487"/>
          <ac:graphicFrameMkLst>
            <pc:docMk/>
            <pc:sldMk cId="3524329266" sldId="288"/>
            <ac:graphicFrameMk id="2" creationId="{F05424D2-5A7B-43E2-860C-0F35FD90AF14}"/>
          </ac:graphicFrameMkLst>
        </pc:graphicFrameChg>
        <pc:picChg chg="add mod">
          <ac:chgData name="Ziter, Timothy" userId="d05d3a43-c08b-4bf4-957b-eacc6ecc84fa" providerId="ADAL" clId="{B5639068-6E70-497A-814B-B5DC99DC97ED}" dt="2022-11-02T09:52:31.113" v="1593" actId="1036"/>
          <ac:picMkLst>
            <pc:docMk/>
            <pc:sldMk cId="3524329266" sldId="288"/>
            <ac:picMk id="9" creationId="{A6E6AA8A-F81F-41E7-B473-539040069D4D}"/>
          </ac:picMkLst>
        </pc:picChg>
        <pc:picChg chg="add mod">
          <ac:chgData name="Ziter, Timothy" userId="d05d3a43-c08b-4bf4-957b-eacc6ecc84fa" providerId="ADAL" clId="{B5639068-6E70-497A-814B-B5DC99DC97ED}" dt="2022-11-02T09:52:41.333" v="1600" actId="1037"/>
          <ac:picMkLst>
            <pc:docMk/>
            <pc:sldMk cId="3524329266" sldId="288"/>
            <ac:picMk id="10" creationId="{326DAF5B-96C8-4ED2-B08C-9E08D2E86C02}"/>
          </ac:picMkLst>
        </pc:picChg>
        <pc:picChg chg="del mod">
          <ac:chgData name="Ziter, Timothy" userId="d05d3a43-c08b-4bf4-957b-eacc6ecc84fa" providerId="ADAL" clId="{B5639068-6E70-497A-814B-B5DC99DC97ED}" dt="2022-11-02T09:52:14.460" v="1583" actId="478"/>
          <ac:picMkLst>
            <pc:docMk/>
            <pc:sldMk cId="3524329266" sldId="288"/>
            <ac:picMk id="18" creationId="{243FC28C-811D-4582-97E8-91EAFE94EAC4}"/>
          </ac:picMkLst>
        </pc:picChg>
        <pc:picChg chg="del mod">
          <ac:chgData name="Ziter, Timothy" userId="d05d3a43-c08b-4bf4-957b-eacc6ecc84fa" providerId="ADAL" clId="{B5639068-6E70-497A-814B-B5DC99DC97ED}" dt="2022-11-02T09:52:15.673" v="1584" actId="478"/>
          <ac:picMkLst>
            <pc:docMk/>
            <pc:sldMk cId="3524329266" sldId="288"/>
            <ac:picMk id="19" creationId="{F2645F83-A55D-4C1C-A07B-CE49C214EFE6}"/>
          </ac:picMkLst>
        </pc:picChg>
      </pc:sldChg>
      <pc:sldChg chg="addSp delSp modSp add mod ord">
        <pc:chgData name="Ziter, Timothy" userId="d05d3a43-c08b-4bf4-957b-eacc6ecc84fa" providerId="ADAL" clId="{B5639068-6E70-497A-814B-B5DC99DC97ED}" dt="2022-11-02T09:55:27.609" v="1903"/>
        <pc:sldMkLst>
          <pc:docMk/>
          <pc:sldMk cId="2622216248" sldId="289"/>
        </pc:sldMkLst>
        <pc:spChg chg="mod">
          <ac:chgData name="Ziter, Timothy" userId="d05d3a43-c08b-4bf4-957b-eacc6ecc84fa" providerId="ADAL" clId="{B5639068-6E70-497A-814B-B5DC99DC97ED}" dt="2022-11-02T09:55:27.056" v="1900" actId="20577"/>
          <ac:spMkLst>
            <pc:docMk/>
            <pc:sldMk cId="2622216248" sldId="289"/>
            <ac:spMk id="7" creationId="{74AA617D-8219-4F65-AF47-6C3E66D6D26E}"/>
          </ac:spMkLst>
        </pc:spChg>
        <pc:spChg chg="mod">
          <ac:chgData name="Ziter, Timothy" userId="d05d3a43-c08b-4bf4-957b-eacc6ecc84fa" providerId="ADAL" clId="{B5639068-6E70-497A-814B-B5DC99DC97ED}" dt="2022-11-02T09:54:11.932" v="1799" actId="20577"/>
          <ac:spMkLst>
            <pc:docMk/>
            <pc:sldMk cId="2622216248" sldId="289"/>
            <ac:spMk id="11" creationId="{BF394AAC-495D-4337-8DC5-3198EEA8D27F}"/>
          </ac:spMkLst>
        </pc:spChg>
        <pc:spChg chg="mod">
          <ac:chgData name="Ziter, Timothy" userId="d05d3a43-c08b-4bf4-957b-eacc6ecc84fa" providerId="ADAL" clId="{B5639068-6E70-497A-814B-B5DC99DC97ED}" dt="2022-11-02T09:54:53.488" v="1869" actId="1035"/>
          <ac:spMkLst>
            <pc:docMk/>
            <pc:sldMk cId="2622216248" sldId="289"/>
            <ac:spMk id="12" creationId="{EE20109F-0C11-4467-9232-876FF5EAD88B}"/>
          </ac:spMkLst>
        </pc:spChg>
        <pc:spChg chg="mod">
          <ac:chgData name="Ziter, Timothy" userId="d05d3a43-c08b-4bf4-957b-eacc6ecc84fa" providerId="ADAL" clId="{B5639068-6E70-497A-814B-B5DC99DC97ED}" dt="2022-11-02T09:55:09.140" v="1884" actId="1035"/>
          <ac:spMkLst>
            <pc:docMk/>
            <pc:sldMk cId="2622216248" sldId="289"/>
            <ac:spMk id="13" creationId="{40E0A525-CC27-4DAE-BB1D-69E7EBD4BCB5}"/>
          </ac:spMkLst>
        </pc:spChg>
        <pc:spChg chg="mod">
          <ac:chgData name="Ziter, Timothy" userId="d05d3a43-c08b-4bf4-957b-eacc6ecc84fa" providerId="ADAL" clId="{B5639068-6E70-497A-814B-B5DC99DC97ED}" dt="2022-11-02T09:54:01.225" v="1772" actId="255"/>
          <ac:spMkLst>
            <pc:docMk/>
            <pc:sldMk cId="2622216248" sldId="289"/>
            <ac:spMk id="14" creationId="{7EBAFEA2-55BF-4B8E-8416-9B4B72881867}"/>
          </ac:spMkLst>
        </pc:spChg>
        <pc:grpChg chg="mod">
          <ac:chgData name="Ziter, Timothy" userId="d05d3a43-c08b-4bf4-957b-eacc6ecc84fa" providerId="ADAL" clId="{B5639068-6E70-497A-814B-B5DC99DC97ED}" dt="2022-11-02T09:52:55.207" v="1602"/>
          <ac:grpSpMkLst>
            <pc:docMk/>
            <pc:sldMk cId="2622216248" sldId="289"/>
            <ac:grpSpMk id="1" creationId="{00000000-0000-0000-0000-000000000000}"/>
          </ac:grpSpMkLst>
        </pc:grpChg>
        <pc:graphicFrameChg chg="mod">
          <ac:chgData name="Ziter, Timothy" userId="d05d3a43-c08b-4bf4-957b-eacc6ecc84fa" providerId="ADAL" clId="{B5639068-6E70-497A-814B-B5DC99DC97ED}" dt="2022-11-02T09:55:27.609" v="1903"/>
          <ac:graphicFrameMkLst>
            <pc:docMk/>
            <pc:sldMk cId="2622216248" sldId="289"/>
            <ac:graphicFrameMk id="2" creationId="{F05424D2-5A7B-43E2-860C-0F35FD90AF14}"/>
          </ac:graphicFrameMkLst>
        </pc:graphicFrameChg>
        <pc:picChg chg="del mod">
          <ac:chgData name="Ziter, Timothy" userId="d05d3a43-c08b-4bf4-957b-eacc6ecc84fa" providerId="ADAL" clId="{B5639068-6E70-497A-814B-B5DC99DC97ED}" dt="2022-11-02T09:54:31.844" v="1832" actId="478"/>
          <ac:picMkLst>
            <pc:docMk/>
            <pc:sldMk cId="2622216248" sldId="289"/>
            <ac:picMk id="15" creationId="{67E10853-BAB8-49D8-AF34-F4C87A240AD5}"/>
          </ac:picMkLst>
        </pc:picChg>
        <pc:picChg chg="del mod">
          <ac:chgData name="Ziter, Timothy" userId="d05d3a43-c08b-4bf4-957b-eacc6ecc84fa" providerId="ADAL" clId="{B5639068-6E70-497A-814B-B5DC99DC97ED}" dt="2022-11-02T09:54:32.569" v="1833" actId="478"/>
          <ac:picMkLst>
            <pc:docMk/>
            <pc:sldMk cId="2622216248" sldId="289"/>
            <ac:picMk id="16" creationId="{041E3EAB-0846-4AEF-8D16-2371AB4EECD6}"/>
          </ac:picMkLst>
        </pc:picChg>
        <pc:picChg chg="del mod">
          <ac:chgData name="Ziter, Timothy" userId="d05d3a43-c08b-4bf4-957b-eacc6ecc84fa" providerId="ADAL" clId="{B5639068-6E70-497A-814B-B5DC99DC97ED}" dt="2022-11-02T09:54:33.175" v="1834" actId="478"/>
          <ac:picMkLst>
            <pc:docMk/>
            <pc:sldMk cId="2622216248" sldId="289"/>
            <ac:picMk id="17" creationId="{35E41242-3FBE-478D-B18D-4D6A49C3DCA0}"/>
          </ac:picMkLst>
        </pc:picChg>
        <pc:picChg chg="add mod">
          <ac:chgData name="Ziter, Timothy" userId="d05d3a43-c08b-4bf4-957b-eacc6ecc84fa" providerId="ADAL" clId="{B5639068-6E70-497A-814B-B5DC99DC97ED}" dt="2022-11-02T09:54:44.661" v="1841" actId="1037"/>
          <ac:picMkLst>
            <pc:docMk/>
            <pc:sldMk cId="2622216248" sldId="289"/>
            <ac:picMk id="18" creationId="{9F57E2F4-7B8C-4977-8387-4F2EAEACB2CC}"/>
          </ac:picMkLst>
        </pc:picChg>
        <pc:picChg chg="add mod">
          <ac:chgData name="Ziter, Timothy" userId="d05d3a43-c08b-4bf4-957b-eacc6ecc84fa" providerId="ADAL" clId="{B5639068-6E70-497A-814B-B5DC99DC97ED}" dt="2022-11-02T09:55:04.310" v="1873" actId="1076"/>
          <ac:picMkLst>
            <pc:docMk/>
            <pc:sldMk cId="2622216248" sldId="289"/>
            <ac:picMk id="19" creationId="{CC15F6C1-6BE3-47B6-B5C6-75C86D3E2D08}"/>
          </ac:picMkLst>
        </pc:picChg>
        <pc:picChg chg="add mod">
          <ac:chgData name="Ziter, Timothy" userId="d05d3a43-c08b-4bf4-957b-eacc6ecc84fa" providerId="ADAL" clId="{B5639068-6E70-497A-814B-B5DC99DC97ED}" dt="2022-11-02T09:55:19.111" v="1887" actId="1076"/>
          <ac:picMkLst>
            <pc:docMk/>
            <pc:sldMk cId="2622216248" sldId="289"/>
            <ac:picMk id="20" creationId="{E57B93F8-5EB1-4DF1-B539-E768EFC7F563}"/>
          </ac:picMkLst>
        </pc:picChg>
      </pc:sldChg>
      <pc:sldChg chg="addSp delSp modSp add mod">
        <pc:chgData name="Ziter, Timothy" userId="d05d3a43-c08b-4bf4-957b-eacc6ecc84fa" providerId="ADAL" clId="{B5639068-6E70-497A-814B-B5DC99DC97ED}" dt="2022-11-02T09:57:45.645" v="2112" actId="1036"/>
        <pc:sldMkLst>
          <pc:docMk/>
          <pc:sldMk cId="1892208293" sldId="290"/>
        </pc:sldMkLst>
        <pc:spChg chg="mod">
          <ac:chgData name="Ziter, Timothy" userId="d05d3a43-c08b-4bf4-957b-eacc6ecc84fa" providerId="ADAL" clId="{B5639068-6E70-497A-814B-B5DC99DC97ED}" dt="2022-11-02T09:55:39.962" v="1905"/>
          <ac:spMkLst>
            <pc:docMk/>
            <pc:sldMk cId="1892208293" sldId="290"/>
            <ac:spMk id="7" creationId="{74AA617D-8219-4F65-AF47-6C3E66D6D26E}"/>
          </ac:spMkLst>
        </pc:spChg>
        <pc:spChg chg="mod">
          <ac:chgData name="Ziter, Timothy" userId="d05d3a43-c08b-4bf4-957b-eacc6ecc84fa" providerId="ADAL" clId="{B5639068-6E70-497A-814B-B5DC99DC97ED}" dt="2022-11-02T09:56:27.763" v="2032" actId="20577"/>
          <ac:spMkLst>
            <pc:docMk/>
            <pc:sldMk cId="1892208293" sldId="290"/>
            <ac:spMk id="11" creationId="{BF394AAC-495D-4337-8DC5-3198EEA8D27F}"/>
          </ac:spMkLst>
        </pc:spChg>
        <pc:spChg chg="mod">
          <ac:chgData name="Ziter, Timothy" userId="d05d3a43-c08b-4bf4-957b-eacc6ecc84fa" providerId="ADAL" clId="{B5639068-6E70-497A-814B-B5DC99DC97ED}" dt="2022-11-02T09:57:06.919" v="2060" actId="1076"/>
          <ac:spMkLst>
            <pc:docMk/>
            <pc:sldMk cId="1892208293" sldId="290"/>
            <ac:spMk id="12" creationId="{EE20109F-0C11-4467-9232-876FF5EAD88B}"/>
          </ac:spMkLst>
        </pc:spChg>
        <pc:spChg chg="mod">
          <ac:chgData name="Ziter, Timothy" userId="d05d3a43-c08b-4bf4-957b-eacc6ecc84fa" providerId="ADAL" clId="{B5639068-6E70-497A-814B-B5DC99DC97ED}" dt="2022-11-02T09:57:26.806" v="2104" actId="1035"/>
          <ac:spMkLst>
            <pc:docMk/>
            <pc:sldMk cId="1892208293" sldId="290"/>
            <ac:spMk id="13" creationId="{40E0A525-CC27-4DAE-BB1D-69E7EBD4BCB5}"/>
          </ac:spMkLst>
        </pc:spChg>
        <pc:spChg chg="mod">
          <ac:chgData name="Ziter, Timothy" userId="d05d3a43-c08b-4bf4-957b-eacc6ecc84fa" providerId="ADAL" clId="{B5639068-6E70-497A-814B-B5DC99DC97ED}" dt="2022-11-02T09:56:20.101" v="2021" actId="20577"/>
          <ac:spMkLst>
            <pc:docMk/>
            <pc:sldMk cId="1892208293" sldId="290"/>
            <ac:spMk id="14" creationId="{7EBAFEA2-55BF-4B8E-8416-9B4B72881867}"/>
          </ac:spMkLst>
        </pc:spChg>
        <pc:grpChg chg="mod">
          <ac:chgData name="Ziter, Timothy" userId="d05d3a43-c08b-4bf4-957b-eacc6ecc84fa" providerId="ADAL" clId="{B5639068-6E70-497A-814B-B5DC99DC97ED}" dt="2022-11-02T09:55:39.962" v="1905"/>
          <ac:grpSpMkLst>
            <pc:docMk/>
            <pc:sldMk cId="1892208293" sldId="290"/>
            <ac:grpSpMk id="1" creationId="{00000000-0000-0000-0000-000000000000}"/>
          </ac:grpSpMkLst>
        </pc:grpChg>
        <pc:graphicFrameChg chg="mod">
          <ac:chgData name="Ziter, Timothy" userId="d05d3a43-c08b-4bf4-957b-eacc6ecc84fa" providerId="ADAL" clId="{B5639068-6E70-497A-814B-B5DC99DC97ED}" dt="2022-11-02T09:55:39.962" v="1905"/>
          <ac:graphicFrameMkLst>
            <pc:docMk/>
            <pc:sldMk cId="1892208293" sldId="290"/>
            <ac:graphicFrameMk id="2" creationId="{F05424D2-5A7B-43E2-860C-0F35FD90AF14}"/>
          </ac:graphicFrameMkLst>
        </pc:graphicFrameChg>
        <pc:picChg chg="add mod">
          <ac:chgData name="Ziter, Timothy" userId="d05d3a43-c08b-4bf4-957b-eacc6ecc84fa" providerId="ADAL" clId="{B5639068-6E70-497A-814B-B5DC99DC97ED}" dt="2022-11-02T09:57:01.429" v="2059" actId="14100"/>
          <ac:picMkLst>
            <pc:docMk/>
            <pc:sldMk cId="1892208293" sldId="290"/>
            <ac:picMk id="15" creationId="{68337AC8-6081-4E68-B896-032A4E7E5B55}"/>
          </ac:picMkLst>
        </pc:picChg>
        <pc:picChg chg="add mod">
          <ac:chgData name="Ziter, Timothy" userId="d05d3a43-c08b-4bf4-957b-eacc6ecc84fa" providerId="ADAL" clId="{B5639068-6E70-497A-814B-B5DC99DC97ED}" dt="2022-11-02T09:57:19.233" v="2063" actId="14100"/>
          <ac:picMkLst>
            <pc:docMk/>
            <pc:sldMk cId="1892208293" sldId="290"/>
            <ac:picMk id="16" creationId="{EE8CFC9A-B7B5-4AC4-AF59-58BF744D8359}"/>
          </ac:picMkLst>
        </pc:picChg>
        <pc:picChg chg="add mod">
          <ac:chgData name="Ziter, Timothy" userId="d05d3a43-c08b-4bf4-957b-eacc6ecc84fa" providerId="ADAL" clId="{B5639068-6E70-497A-814B-B5DC99DC97ED}" dt="2022-11-02T09:57:45.645" v="2112" actId="1036"/>
          <ac:picMkLst>
            <pc:docMk/>
            <pc:sldMk cId="1892208293" sldId="290"/>
            <ac:picMk id="17" creationId="{1926F368-7C11-4D2B-A905-440F62199359}"/>
          </ac:picMkLst>
        </pc:picChg>
        <pc:picChg chg="del mod">
          <ac:chgData name="Ziter, Timothy" userId="d05d3a43-c08b-4bf4-957b-eacc6ecc84fa" providerId="ADAL" clId="{B5639068-6E70-497A-814B-B5DC99DC97ED}" dt="2022-11-02T09:56:51.477" v="2057" actId="478"/>
          <ac:picMkLst>
            <pc:docMk/>
            <pc:sldMk cId="1892208293" sldId="290"/>
            <ac:picMk id="18" creationId="{9F57E2F4-7B8C-4977-8387-4F2EAEACB2CC}"/>
          </ac:picMkLst>
        </pc:picChg>
        <pc:picChg chg="del mod">
          <ac:chgData name="Ziter, Timothy" userId="d05d3a43-c08b-4bf4-957b-eacc6ecc84fa" providerId="ADAL" clId="{B5639068-6E70-497A-814B-B5DC99DC97ED}" dt="2022-11-02T09:57:08.976" v="2061" actId="478"/>
          <ac:picMkLst>
            <pc:docMk/>
            <pc:sldMk cId="1892208293" sldId="290"/>
            <ac:picMk id="19" creationId="{CC15F6C1-6BE3-47B6-B5C6-75C86D3E2D08}"/>
          </ac:picMkLst>
        </pc:picChg>
        <pc:picChg chg="del mod">
          <ac:chgData name="Ziter, Timothy" userId="d05d3a43-c08b-4bf4-957b-eacc6ecc84fa" providerId="ADAL" clId="{B5639068-6E70-497A-814B-B5DC99DC97ED}" dt="2022-11-02T09:57:28.210" v="2105" actId="478"/>
          <ac:picMkLst>
            <pc:docMk/>
            <pc:sldMk cId="1892208293" sldId="290"/>
            <ac:picMk id="20" creationId="{E57B93F8-5EB1-4DF1-B539-E768EFC7F563}"/>
          </ac:picMkLst>
        </pc:picChg>
      </pc:sldChg>
      <pc:sldChg chg="addSp delSp modSp add mod">
        <pc:chgData name="Ziter, Timothy" userId="d05d3a43-c08b-4bf4-957b-eacc6ecc84fa" providerId="ADAL" clId="{B5639068-6E70-497A-814B-B5DC99DC97ED}" dt="2022-11-02T10:00:44.001" v="2365" actId="1076"/>
        <pc:sldMkLst>
          <pc:docMk/>
          <pc:sldMk cId="2068029261" sldId="291"/>
        </pc:sldMkLst>
        <pc:spChg chg="mod">
          <ac:chgData name="Ziter, Timothy" userId="d05d3a43-c08b-4bf4-957b-eacc6ecc84fa" providerId="ADAL" clId="{B5639068-6E70-497A-814B-B5DC99DC97ED}" dt="2022-11-02T09:58:02.684" v="2114"/>
          <ac:spMkLst>
            <pc:docMk/>
            <pc:sldMk cId="2068029261" sldId="291"/>
            <ac:spMk id="7" creationId="{74AA617D-8219-4F65-AF47-6C3E66D6D26E}"/>
          </ac:spMkLst>
        </pc:spChg>
        <pc:spChg chg="mod">
          <ac:chgData name="Ziter, Timothy" userId="d05d3a43-c08b-4bf4-957b-eacc6ecc84fa" providerId="ADAL" clId="{B5639068-6E70-497A-814B-B5DC99DC97ED}" dt="2022-11-02T09:59:45.675" v="2285" actId="20577"/>
          <ac:spMkLst>
            <pc:docMk/>
            <pc:sldMk cId="2068029261" sldId="291"/>
            <ac:spMk id="11" creationId="{BF394AAC-495D-4337-8DC5-3198EEA8D27F}"/>
          </ac:spMkLst>
        </pc:spChg>
        <pc:spChg chg="mod">
          <ac:chgData name="Ziter, Timothy" userId="d05d3a43-c08b-4bf4-957b-eacc6ecc84fa" providerId="ADAL" clId="{B5639068-6E70-497A-814B-B5DC99DC97ED}" dt="2022-11-02T10:00:02.287" v="2307" actId="20577"/>
          <ac:spMkLst>
            <pc:docMk/>
            <pc:sldMk cId="2068029261" sldId="291"/>
            <ac:spMk id="12" creationId="{EE20109F-0C11-4467-9232-876FF5EAD88B}"/>
          </ac:spMkLst>
        </pc:spChg>
        <pc:spChg chg="mod">
          <ac:chgData name="Ziter, Timothy" userId="d05d3a43-c08b-4bf4-957b-eacc6ecc84fa" providerId="ADAL" clId="{B5639068-6E70-497A-814B-B5DC99DC97ED}" dt="2022-11-02T10:00:24.774" v="2343" actId="20577"/>
          <ac:spMkLst>
            <pc:docMk/>
            <pc:sldMk cId="2068029261" sldId="291"/>
            <ac:spMk id="13" creationId="{40E0A525-CC27-4DAE-BB1D-69E7EBD4BCB5}"/>
          </ac:spMkLst>
        </pc:spChg>
        <pc:spChg chg="mod">
          <ac:chgData name="Ziter, Timothy" userId="d05d3a43-c08b-4bf4-957b-eacc6ecc84fa" providerId="ADAL" clId="{B5639068-6E70-497A-814B-B5DC99DC97ED}" dt="2022-11-02T09:59:08.450" v="2253" actId="20577"/>
          <ac:spMkLst>
            <pc:docMk/>
            <pc:sldMk cId="2068029261" sldId="291"/>
            <ac:spMk id="14" creationId="{7EBAFEA2-55BF-4B8E-8416-9B4B72881867}"/>
          </ac:spMkLst>
        </pc:spChg>
        <pc:spChg chg="add mod">
          <ac:chgData name="Ziter, Timothy" userId="d05d3a43-c08b-4bf4-957b-eacc6ecc84fa" providerId="ADAL" clId="{B5639068-6E70-497A-814B-B5DC99DC97ED}" dt="2022-11-02T10:00:32.279" v="2364" actId="20577"/>
          <ac:spMkLst>
            <pc:docMk/>
            <pc:sldMk cId="2068029261" sldId="291"/>
            <ac:spMk id="18" creationId="{88842240-96D2-442A-9FDA-836D12ADFEA2}"/>
          </ac:spMkLst>
        </pc:spChg>
        <pc:grpChg chg="mod">
          <ac:chgData name="Ziter, Timothy" userId="d05d3a43-c08b-4bf4-957b-eacc6ecc84fa" providerId="ADAL" clId="{B5639068-6E70-497A-814B-B5DC99DC97ED}" dt="2022-11-02T09:58:02.684" v="2114"/>
          <ac:grpSpMkLst>
            <pc:docMk/>
            <pc:sldMk cId="2068029261" sldId="291"/>
            <ac:grpSpMk id="1" creationId="{00000000-0000-0000-0000-000000000000}"/>
          </ac:grpSpMkLst>
        </pc:grpChg>
        <pc:graphicFrameChg chg="mod">
          <ac:chgData name="Ziter, Timothy" userId="d05d3a43-c08b-4bf4-957b-eacc6ecc84fa" providerId="ADAL" clId="{B5639068-6E70-497A-814B-B5DC99DC97ED}" dt="2022-11-02T09:58:02.684" v="2114"/>
          <ac:graphicFrameMkLst>
            <pc:docMk/>
            <pc:sldMk cId="2068029261" sldId="291"/>
            <ac:graphicFrameMk id="2" creationId="{F05424D2-5A7B-43E2-860C-0F35FD90AF14}"/>
          </ac:graphicFrameMkLst>
        </pc:graphicFrameChg>
        <pc:picChg chg="del mod">
          <ac:chgData name="Ziter, Timothy" userId="d05d3a43-c08b-4bf4-957b-eacc6ecc84fa" providerId="ADAL" clId="{B5639068-6E70-497A-814B-B5DC99DC97ED}" dt="2022-11-02T09:59:28.357" v="2258" actId="478"/>
          <ac:picMkLst>
            <pc:docMk/>
            <pc:sldMk cId="2068029261" sldId="291"/>
            <ac:picMk id="15" creationId="{68337AC8-6081-4E68-B896-032A4E7E5B55}"/>
          </ac:picMkLst>
        </pc:picChg>
        <pc:picChg chg="del mod">
          <ac:chgData name="Ziter, Timothy" userId="d05d3a43-c08b-4bf4-957b-eacc6ecc84fa" providerId="ADAL" clId="{B5639068-6E70-497A-814B-B5DC99DC97ED}" dt="2022-11-02T09:59:27.563" v="2257" actId="478"/>
          <ac:picMkLst>
            <pc:docMk/>
            <pc:sldMk cId="2068029261" sldId="291"/>
            <ac:picMk id="16" creationId="{EE8CFC9A-B7B5-4AC4-AF59-58BF744D8359}"/>
          </ac:picMkLst>
        </pc:picChg>
        <pc:picChg chg="del mod">
          <ac:chgData name="Ziter, Timothy" userId="d05d3a43-c08b-4bf4-957b-eacc6ecc84fa" providerId="ADAL" clId="{B5639068-6E70-497A-814B-B5DC99DC97ED}" dt="2022-11-02T09:59:26.840" v="2256" actId="478"/>
          <ac:picMkLst>
            <pc:docMk/>
            <pc:sldMk cId="2068029261" sldId="291"/>
            <ac:picMk id="17" creationId="{1926F368-7C11-4D2B-A905-440F62199359}"/>
          </ac:picMkLst>
        </pc:picChg>
        <pc:picChg chg="add mod">
          <ac:chgData name="Ziter, Timothy" userId="d05d3a43-c08b-4bf4-957b-eacc6ecc84fa" providerId="ADAL" clId="{B5639068-6E70-497A-814B-B5DC99DC97ED}" dt="2022-11-02T10:00:17.169" v="2314" actId="1076"/>
          <ac:picMkLst>
            <pc:docMk/>
            <pc:sldMk cId="2068029261" sldId="291"/>
            <ac:picMk id="19" creationId="{0572D8DF-A4EC-4188-9D19-340F0242B1A5}"/>
          </ac:picMkLst>
        </pc:picChg>
        <pc:picChg chg="add mod">
          <ac:chgData name="Ziter, Timothy" userId="d05d3a43-c08b-4bf4-957b-eacc6ecc84fa" providerId="ADAL" clId="{B5639068-6E70-497A-814B-B5DC99DC97ED}" dt="2022-11-02T10:00:11.995" v="2313" actId="1035"/>
          <ac:picMkLst>
            <pc:docMk/>
            <pc:sldMk cId="2068029261" sldId="291"/>
            <ac:picMk id="20" creationId="{B1D2E8DF-56AA-48B5-A7E6-5504C8C6A580}"/>
          </ac:picMkLst>
        </pc:picChg>
        <pc:picChg chg="add mod">
          <ac:chgData name="Ziter, Timothy" userId="d05d3a43-c08b-4bf4-957b-eacc6ecc84fa" providerId="ADAL" clId="{B5639068-6E70-497A-814B-B5DC99DC97ED}" dt="2022-11-02T10:00:44.001" v="2365" actId="1076"/>
          <ac:picMkLst>
            <pc:docMk/>
            <pc:sldMk cId="2068029261" sldId="291"/>
            <ac:picMk id="21" creationId="{D18971E2-0124-44B6-BF32-99A3227E411D}"/>
          </ac:picMkLst>
        </pc:picChg>
        <pc:picChg chg="add mod">
          <ac:chgData name="Ziter, Timothy" userId="d05d3a43-c08b-4bf4-957b-eacc6ecc84fa" providerId="ADAL" clId="{B5639068-6E70-497A-814B-B5DC99DC97ED}" dt="2022-11-02T09:59:53.822" v="2290" actId="1037"/>
          <ac:picMkLst>
            <pc:docMk/>
            <pc:sldMk cId="2068029261" sldId="291"/>
            <ac:picMk id="22" creationId="{12EFB808-96E5-4693-919C-4FDDF25F97DA}"/>
          </ac:picMkLst>
        </pc:picChg>
      </pc:sldChg>
      <pc:sldChg chg="addSp delSp modSp add mod ord">
        <pc:chgData name="Ziter, Timothy" userId="d05d3a43-c08b-4bf4-957b-eacc6ecc84fa" providerId="ADAL" clId="{B5639068-6E70-497A-814B-B5DC99DC97ED}" dt="2022-11-02T10:03:45.160" v="2673" actId="1076"/>
        <pc:sldMkLst>
          <pc:docMk/>
          <pc:sldMk cId="1999444213" sldId="292"/>
        </pc:sldMkLst>
        <pc:spChg chg="mod">
          <ac:chgData name="Ziter, Timothy" userId="d05d3a43-c08b-4bf4-957b-eacc6ecc84fa" providerId="ADAL" clId="{B5639068-6E70-497A-814B-B5DC99DC97ED}" dt="2022-11-02T10:00:57.046" v="2367"/>
          <ac:spMkLst>
            <pc:docMk/>
            <pc:sldMk cId="1999444213" sldId="292"/>
            <ac:spMk id="7" creationId="{74AA617D-8219-4F65-AF47-6C3E66D6D26E}"/>
          </ac:spMkLst>
        </pc:spChg>
        <pc:spChg chg="mod">
          <ac:chgData name="Ziter, Timothy" userId="d05d3a43-c08b-4bf4-957b-eacc6ecc84fa" providerId="ADAL" clId="{B5639068-6E70-497A-814B-B5DC99DC97ED}" dt="2022-11-02T10:02:40.051" v="2604" actId="20577"/>
          <ac:spMkLst>
            <pc:docMk/>
            <pc:sldMk cId="1999444213" sldId="292"/>
            <ac:spMk id="11" creationId="{BF394AAC-495D-4337-8DC5-3198EEA8D27F}"/>
          </ac:spMkLst>
        </pc:spChg>
        <pc:spChg chg="mod">
          <ac:chgData name="Ziter, Timothy" userId="d05d3a43-c08b-4bf4-957b-eacc6ecc84fa" providerId="ADAL" clId="{B5639068-6E70-497A-814B-B5DC99DC97ED}" dt="2022-11-02T10:03:20.617" v="2663" actId="1035"/>
          <ac:spMkLst>
            <pc:docMk/>
            <pc:sldMk cId="1999444213" sldId="292"/>
            <ac:spMk id="12" creationId="{EE20109F-0C11-4467-9232-876FF5EAD88B}"/>
          </ac:spMkLst>
        </pc:spChg>
        <pc:spChg chg="mod">
          <ac:chgData name="Ziter, Timothy" userId="d05d3a43-c08b-4bf4-957b-eacc6ecc84fa" providerId="ADAL" clId="{B5639068-6E70-497A-814B-B5DC99DC97ED}" dt="2022-11-02T10:02:51.325" v="2625" actId="20577"/>
          <ac:spMkLst>
            <pc:docMk/>
            <pc:sldMk cId="1999444213" sldId="292"/>
            <ac:spMk id="13" creationId="{40E0A525-CC27-4DAE-BB1D-69E7EBD4BCB5}"/>
          </ac:spMkLst>
        </pc:spChg>
        <pc:spChg chg="mod">
          <ac:chgData name="Ziter, Timothy" userId="d05d3a43-c08b-4bf4-957b-eacc6ecc84fa" providerId="ADAL" clId="{B5639068-6E70-497A-814B-B5DC99DC97ED}" dt="2022-11-02T10:02:31.868" v="2591" actId="20577"/>
          <ac:spMkLst>
            <pc:docMk/>
            <pc:sldMk cId="1999444213" sldId="292"/>
            <ac:spMk id="14" creationId="{7EBAFEA2-55BF-4B8E-8416-9B4B72881867}"/>
          </ac:spMkLst>
        </pc:spChg>
        <pc:grpChg chg="mod">
          <ac:chgData name="Ziter, Timothy" userId="d05d3a43-c08b-4bf4-957b-eacc6ecc84fa" providerId="ADAL" clId="{B5639068-6E70-497A-814B-B5DC99DC97ED}" dt="2022-11-02T10:00:57.046" v="2367"/>
          <ac:grpSpMkLst>
            <pc:docMk/>
            <pc:sldMk cId="1999444213" sldId="292"/>
            <ac:grpSpMk id="1" creationId="{00000000-0000-0000-0000-000000000000}"/>
          </ac:grpSpMkLst>
        </pc:grpChg>
        <pc:graphicFrameChg chg="mod">
          <ac:chgData name="Ziter, Timothy" userId="d05d3a43-c08b-4bf4-957b-eacc6ecc84fa" providerId="ADAL" clId="{B5639068-6E70-497A-814B-B5DC99DC97ED}" dt="2022-11-02T10:00:57.046" v="2367"/>
          <ac:graphicFrameMkLst>
            <pc:docMk/>
            <pc:sldMk cId="1999444213" sldId="292"/>
            <ac:graphicFrameMk id="2" creationId="{F05424D2-5A7B-43E2-860C-0F35FD90AF14}"/>
          </ac:graphicFrameMkLst>
        </pc:graphicFrameChg>
        <pc:picChg chg="add mod">
          <ac:chgData name="Ziter, Timothy" userId="d05d3a43-c08b-4bf4-957b-eacc6ecc84fa" providerId="ADAL" clId="{B5639068-6E70-497A-814B-B5DC99DC97ED}" dt="2022-11-02T10:03:11.130" v="2631" actId="1037"/>
          <ac:picMkLst>
            <pc:docMk/>
            <pc:sldMk cId="1999444213" sldId="292"/>
            <ac:picMk id="15" creationId="{FB858154-0939-4A91-8DF4-C27C7738EB1B}"/>
          </ac:picMkLst>
        </pc:picChg>
        <pc:picChg chg="add mod">
          <ac:chgData name="Ziter, Timothy" userId="d05d3a43-c08b-4bf4-957b-eacc6ecc84fa" providerId="ADAL" clId="{B5639068-6E70-497A-814B-B5DC99DC97ED}" dt="2022-11-02T10:03:31.462" v="2669" actId="1038"/>
          <ac:picMkLst>
            <pc:docMk/>
            <pc:sldMk cId="1999444213" sldId="292"/>
            <ac:picMk id="16" creationId="{54339768-F41E-43BF-9B2E-2F399AE73C5B}"/>
          </ac:picMkLst>
        </pc:picChg>
        <pc:picChg chg="add mod">
          <ac:chgData name="Ziter, Timothy" userId="d05d3a43-c08b-4bf4-957b-eacc6ecc84fa" providerId="ADAL" clId="{B5639068-6E70-497A-814B-B5DC99DC97ED}" dt="2022-11-02T10:03:45.160" v="2673" actId="1076"/>
          <ac:picMkLst>
            <pc:docMk/>
            <pc:sldMk cId="1999444213" sldId="292"/>
            <ac:picMk id="17" creationId="{151AFD66-FE08-4D10-A1EC-8AC9980A6885}"/>
          </ac:picMkLst>
        </pc:picChg>
        <pc:picChg chg="del mod">
          <ac:chgData name="Ziter, Timothy" userId="d05d3a43-c08b-4bf4-957b-eacc6ecc84fa" providerId="ADAL" clId="{B5639068-6E70-497A-814B-B5DC99DC97ED}" dt="2022-11-02T10:03:03.450" v="2627" actId="478"/>
          <ac:picMkLst>
            <pc:docMk/>
            <pc:sldMk cId="1999444213" sldId="292"/>
            <ac:picMk id="18" creationId="{9F57E2F4-7B8C-4977-8387-4F2EAEACB2CC}"/>
          </ac:picMkLst>
        </pc:picChg>
        <pc:picChg chg="del mod">
          <ac:chgData name="Ziter, Timothy" userId="d05d3a43-c08b-4bf4-957b-eacc6ecc84fa" providerId="ADAL" clId="{B5639068-6E70-497A-814B-B5DC99DC97ED}" dt="2022-11-02T10:03:22.695" v="2664" actId="478"/>
          <ac:picMkLst>
            <pc:docMk/>
            <pc:sldMk cId="1999444213" sldId="292"/>
            <ac:picMk id="19" creationId="{CC15F6C1-6BE3-47B6-B5C6-75C86D3E2D08}"/>
          </ac:picMkLst>
        </pc:picChg>
        <pc:picChg chg="del mod">
          <ac:chgData name="Ziter, Timothy" userId="d05d3a43-c08b-4bf4-957b-eacc6ecc84fa" providerId="ADAL" clId="{B5639068-6E70-497A-814B-B5DC99DC97ED}" dt="2022-11-02T10:03:34.708" v="2670" actId="478"/>
          <ac:picMkLst>
            <pc:docMk/>
            <pc:sldMk cId="1999444213" sldId="292"/>
            <ac:picMk id="20" creationId="{E57B93F8-5EB1-4DF1-B539-E768EFC7F563}"/>
          </ac:picMkLst>
        </pc:picChg>
      </pc:sldChg>
      <pc:sldChg chg="addSp delSp modSp add mod">
        <pc:chgData name="Ziter, Timothy" userId="d05d3a43-c08b-4bf4-957b-eacc6ecc84fa" providerId="ADAL" clId="{B5639068-6E70-497A-814B-B5DC99DC97ED}" dt="2022-11-02T10:06:31.148" v="2943" actId="1076"/>
        <pc:sldMkLst>
          <pc:docMk/>
          <pc:sldMk cId="4097975021" sldId="293"/>
        </pc:sldMkLst>
        <pc:spChg chg="mod">
          <ac:chgData name="Ziter, Timothy" userId="d05d3a43-c08b-4bf4-957b-eacc6ecc84fa" providerId="ADAL" clId="{B5639068-6E70-497A-814B-B5DC99DC97ED}" dt="2022-11-02T10:04:01.430" v="2675"/>
          <ac:spMkLst>
            <pc:docMk/>
            <pc:sldMk cId="4097975021" sldId="293"/>
            <ac:spMk id="7" creationId="{74AA617D-8219-4F65-AF47-6C3E66D6D26E}"/>
          </ac:spMkLst>
        </pc:spChg>
        <pc:spChg chg="mod">
          <ac:chgData name="Ziter, Timothy" userId="d05d3a43-c08b-4bf4-957b-eacc6ecc84fa" providerId="ADAL" clId="{B5639068-6E70-497A-814B-B5DC99DC97ED}" dt="2022-11-02T10:05:38.067" v="2910" actId="20577"/>
          <ac:spMkLst>
            <pc:docMk/>
            <pc:sldMk cId="4097975021" sldId="293"/>
            <ac:spMk id="11" creationId="{BF394AAC-495D-4337-8DC5-3198EEA8D27F}"/>
          </ac:spMkLst>
        </pc:spChg>
        <pc:spChg chg="mod">
          <ac:chgData name="Ziter, Timothy" userId="d05d3a43-c08b-4bf4-957b-eacc6ecc84fa" providerId="ADAL" clId="{B5639068-6E70-497A-814B-B5DC99DC97ED}" dt="2022-11-02T10:05:44.030" v="2925" actId="20577"/>
          <ac:spMkLst>
            <pc:docMk/>
            <pc:sldMk cId="4097975021" sldId="293"/>
            <ac:spMk id="12" creationId="{EE20109F-0C11-4467-9232-876FF5EAD88B}"/>
          </ac:spMkLst>
        </pc:spChg>
        <pc:spChg chg="mod">
          <ac:chgData name="Ziter, Timothy" userId="d05d3a43-c08b-4bf4-957b-eacc6ecc84fa" providerId="ADAL" clId="{B5639068-6E70-497A-814B-B5DC99DC97ED}" dt="2022-11-02T10:05:48.578" v="2932" actId="20577"/>
          <ac:spMkLst>
            <pc:docMk/>
            <pc:sldMk cId="4097975021" sldId="293"/>
            <ac:spMk id="13" creationId="{40E0A525-CC27-4DAE-BB1D-69E7EBD4BCB5}"/>
          </ac:spMkLst>
        </pc:spChg>
        <pc:spChg chg="mod">
          <ac:chgData name="Ziter, Timothy" userId="d05d3a43-c08b-4bf4-957b-eacc6ecc84fa" providerId="ADAL" clId="{B5639068-6E70-497A-814B-B5DC99DC97ED}" dt="2022-11-02T10:05:22.481" v="2866" actId="14"/>
          <ac:spMkLst>
            <pc:docMk/>
            <pc:sldMk cId="4097975021" sldId="293"/>
            <ac:spMk id="14" creationId="{7EBAFEA2-55BF-4B8E-8416-9B4B72881867}"/>
          </ac:spMkLst>
        </pc:spChg>
        <pc:grpChg chg="mod">
          <ac:chgData name="Ziter, Timothy" userId="d05d3a43-c08b-4bf4-957b-eacc6ecc84fa" providerId="ADAL" clId="{B5639068-6E70-497A-814B-B5DC99DC97ED}" dt="2022-11-02T10:04:01.430" v="2675"/>
          <ac:grpSpMkLst>
            <pc:docMk/>
            <pc:sldMk cId="4097975021" sldId="293"/>
            <ac:grpSpMk id="1" creationId="{00000000-0000-0000-0000-000000000000}"/>
          </ac:grpSpMkLst>
        </pc:grpChg>
        <pc:graphicFrameChg chg="mod">
          <ac:chgData name="Ziter, Timothy" userId="d05d3a43-c08b-4bf4-957b-eacc6ecc84fa" providerId="ADAL" clId="{B5639068-6E70-497A-814B-B5DC99DC97ED}" dt="2022-11-02T10:04:01.430" v="2675"/>
          <ac:graphicFrameMkLst>
            <pc:docMk/>
            <pc:sldMk cId="4097975021" sldId="293"/>
            <ac:graphicFrameMk id="2" creationId="{F05424D2-5A7B-43E2-860C-0F35FD90AF14}"/>
          </ac:graphicFrameMkLst>
        </pc:graphicFrameChg>
        <pc:picChg chg="del mod">
          <ac:chgData name="Ziter, Timothy" userId="d05d3a43-c08b-4bf4-957b-eacc6ecc84fa" providerId="ADAL" clId="{B5639068-6E70-497A-814B-B5DC99DC97ED}" dt="2022-11-02T10:05:53.904" v="2935" actId="478"/>
          <ac:picMkLst>
            <pc:docMk/>
            <pc:sldMk cId="4097975021" sldId="293"/>
            <ac:picMk id="15" creationId="{FB858154-0939-4A91-8DF4-C27C7738EB1B}"/>
          </ac:picMkLst>
        </pc:picChg>
        <pc:picChg chg="del mod">
          <ac:chgData name="Ziter, Timothy" userId="d05d3a43-c08b-4bf4-957b-eacc6ecc84fa" providerId="ADAL" clId="{B5639068-6E70-497A-814B-B5DC99DC97ED}" dt="2022-11-02T10:05:52.111" v="2933" actId="478"/>
          <ac:picMkLst>
            <pc:docMk/>
            <pc:sldMk cId="4097975021" sldId="293"/>
            <ac:picMk id="16" creationId="{54339768-F41E-43BF-9B2E-2F399AE73C5B}"/>
          </ac:picMkLst>
        </pc:picChg>
        <pc:picChg chg="del mod">
          <ac:chgData name="Ziter, Timothy" userId="d05d3a43-c08b-4bf4-957b-eacc6ecc84fa" providerId="ADAL" clId="{B5639068-6E70-497A-814B-B5DC99DC97ED}" dt="2022-11-02T10:05:52.996" v="2934" actId="478"/>
          <ac:picMkLst>
            <pc:docMk/>
            <pc:sldMk cId="4097975021" sldId="293"/>
            <ac:picMk id="17" creationId="{151AFD66-FE08-4D10-A1EC-8AC9980A6885}"/>
          </ac:picMkLst>
        </pc:picChg>
        <pc:picChg chg="add mod">
          <ac:chgData name="Ziter, Timothy" userId="d05d3a43-c08b-4bf4-957b-eacc6ecc84fa" providerId="ADAL" clId="{B5639068-6E70-497A-814B-B5DC99DC97ED}" dt="2022-11-02T10:06:14.669" v="2938" actId="14100"/>
          <ac:picMkLst>
            <pc:docMk/>
            <pc:sldMk cId="4097975021" sldId="293"/>
            <ac:picMk id="18" creationId="{5A997B37-E1F8-452C-9555-4C870BAB81A7}"/>
          </ac:picMkLst>
        </pc:picChg>
        <pc:picChg chg="add mod">
          <ac:chgData name="Ziter, Timothy" userId="d05d3a43-c08b-4bf4-957b-eacc6ecc84fa" providerId="ADAL" clId="{B5639068-6E70-497A-814B-B5DC99DC97ED}" dt="2022-11-02T10:06:26.949" v="2942" actId="14100"/>
          <ac:picMkLst>
            <pc:docMk/>
            <pc:sldMk cId="4097975021" sldId="293"/>
            <ac:picMk id="19" creationId="{442D12A3-142A-4095-A23A-5ABC59F9344A}"/>
          </ac:picMkLst>
        </pc:picChg>
        <pc:picChg chg="add mod">
          <ac:chgData name="Ziter, Timothy" userId="d05d3a43-c08b-4bf4-957b-eacc6ecc84fa" providerId="ADAL" clId="{B5639068-6E70-497A-814B-B5DC99DC97ED}" dt="2022-11-02T10:06:31.148" v="2943" actId="1076"/>
          <ac:picMkLst>
            <pc:docMk/>
            <pc:sldMk cId="4097975021" sldId="293"/>
            <ac:picMk id="20" creationId="{54B0A98D-C6AA-4D8C-ADDB-DF95BDF4B1EB}"/>
          </ac:picMkLst>
        </pc:picChg>
      </pc:sldChg>
      <pc:sldChg chg="addSp delSp modSp add mod ord">
        <pc:chgData name="Ziter, Timothy" userId="d05d3a43-c08b-4bf4-957b-eacc6ecc84fa" providerId="ADAL" clId="{B5639068-6E70-497A-814B-B5DC99DC97ED}" dt="2022-11-02T10:09:24.194" v="3209" actId="1076"/>
        <pc:sldMkLst>
          <pc:docMk/>
          <pc:sldMk cId="2206117052" sldId="294"/>
        </pc:sldMkLst>
        <pc:spChg chg="mod">
          <ac:chgData name="Ziter, Timothy" userId="d05d3a43-c08b-4bf4-957b-eacc6ecc84fa" providerId="ADAL" clId="{B5639068-6E70-497A-814B-B5DC99DC97ED}" dt="2022-11-02T10:06:42.911" v="2945"/>
          <ac:spMkLst>
            <pc:docMk/>
            <pc:sldMk cId="2206117052" sldId="294"/>
            <ac:spMk id="7" creationId="{74AA617D-8219-4F65-AF47-6C3E66D6D26E}"/>
          </ac:spMkLst>
        </pc:spChg>
        <pc:spChg chg="mod">
          <ac:chgData name="Ziter, Timothy" userId="d05d3a43-c08b-4bf4-957b-eacc6ecc84fa" providerId="ADAL" clId="{B5639068-6E70-497A-814B-B5DC99DC97ED}" dt="2022-11-02T10:07:32.191" v="3070" actId="20577"/>
          <ac:spMkLst>
            <pc:docMk/>
            <pc:sldMk cId="2206117052" sldId="294"/>
            <ac:spMk id="11" creationId="{BF394AAC-495D-4337-8DC5-3198EEA8D27F}"/>
          </ac:spMkLst>
        </pc:spChg>
        <pc:spChg chg="mod">
          <ac:chgData name="Ziter, Timothy" userId="d05d3a43-c08b-4bf4-957b-eacc6ecc84fa" providerId="ADAL" clId="{B5639068-6E70-497A-814B-B5DC99DC97ED}" dt="2022-11-02T10:08:21.681" v="3121" actId="1036"/>
          <ac:spMkLst>
            <pc:docMk/>
            <pc:sldMk cId="2206117052" sldId="294"/>
            <ac:spMk id="12" creationId="{EE20109F-0C11-4467-9232-876FF5EAD88B}"/>
          </ac:spMkLst>
        </pc:spChg>
        <pc:spChg chg="mod">
          <ac:chgData name="Ziter, Timothy" userId="d05d3a43-c08b-4bf4-957b-eacc6ecc84fa" providerId="ADAL" clId="{B5639068-6E70-497A-814B-B5DC99DC97ED}" dt="2022-11-02T10:08:44.957" v="3171" actId="1035"/>
          <ac:spMkLst>
            <pc:docMk/>
            <pc:sldMk cId="2206117052" sldId="294"/>
            <ac:spMk id="13" creationId="{40E0A525-CC27-4DAE-BB1D-69E7EBD4BCB5}"/>
          </ac:spMkLst>
        </pc:spChg>
        <pc:spChg chg="mod">
          <ac:chgData name="Ziter, Timothy" userId="d05d3a43-c08b-4bf4-957b-eacc6ecc84fa" providerId="ADAL" clId="{B5639068-6E70-497A-814B-B5DC99DC97ED}" dt="2022-11-02T10:07:25.099" v="3058" actId="20577"/>
          <ac:spMkLst>
            <pc:docMk/>
            <pc:sldMk cId="2206117052" sldId="294"/>
            <ac:spMk id="14" creationId="{7EBAFEA2-55BF-4B8E-8416-9B4B72881867}"/>
          </ac:spMkLst>
        </pc:spChg>
        <pc:spChg chg="mod">
          <ac:chgData name="Ziter, Timothy" userId="d05d3a43-c08b-4bf4-957b-eacc6ecc84fa" providerId="ADAL" clId="{B5639068-6E70-497A-814B-B5DC99DC97ED}" dt="2022-11-02T10:09:15.066" v="3208" actId="1036"/>
          <ac:spMkLst>
            <pc:docMk/>
            <pc:sldMk cId="2206117052" sldId="294"/>
            <ac:spMk id="18" creationId="{88842240-96D2-442A-9FDA-836D12ADFEA2}"/>
          </ac:spMkLst>
        </pc:spChg>
        <pc:grpChg chg="mod">
          <ac:chgData name="Ziter, Timothy" userId="d05d3a43-c08b-4bf4-957b-eacc6ecc84fa" providerId="ADAL" clId="{B5639068-6E70-497A-814B-B5DC99DC97ED}" dt="2022-11-02T10:06:42.911" v="2945"/>
          <ac:grpSpMkLst>
            <pc:docMk/>
            <pc:sldMk cId="2206117052" sldId="294"/>
            <ac:grpSpMk id="1" creationId="{00000000-0000-0000-0000-000000000000}"/>
          </ac:grpSpMkLst>
        </pc:grpChg>
        <pc:graphicFrameChg chg="mod">
          <ac:chgData name="Ziter, Timothy" userId="d05d3a43-c08b-4bf4-957b-eacc6ecc84fa" providerId="ADAL" clId="{B5639068-6E70-497A-814B-B5DC99DC97ED}" dt="2022-11-02T10:06:42.911" v="2945"/>
          <ac:graphicFrameMkLst>
            <pc:docMk/>
            <pc:sldMk cId="2206117052" sldId="294"/>
            <ac:graphicFrameMk id="2" creationId="{F05424D2-5A7B-43E2-860C-0F35FD90AF14}"/>
          </ac:graphicFrameMkLst>
        </pc:graphicFrameChg>
        <pc:picChg chg="add mod">
          <ac:chgData name="Ziter, Timothy" userId="d05d3a43-c08b-4bf4-957b-eacc6ecc84fa" providerId="ADAL" clId="{B5639068-6E70-497A-814B-B5DC99DC97ED}" dt="2022-11-02T10:08:16.402" v="3114" actId="1037"/>
          <ac:picMkLst>
            <pc:docMk/>
            <pc:sldMk cId="2206117052" sldId="294"/>
            <ac:picMk id="15" creationId="{3E4BA8CA-FEF3-4E7F-9FC9-01F1D38BE55F}"/>
          </ac:picMkLst>
        </pc:picChg>
        <pc:picChg chg="add mod">
          <ac:chgData name="Ziter, Timothy" userId="d05d3a43-c08b-4bf4-957b-eacc6ecc84fa" providerId="ADAL" clId="{B5639068-6E70-497A-814B-B5DC99DC97ED}" dt="2022-11-02T10:08:37.861" v="3150" actId="1076"/>
          <ac:picMkLst>
            <pc:docMk/>
            <pc:sldMk cId="2206117052" sldId="294"/>
            <ac:picMk id="16" creationId="{EAE1951D-305F-461F-A9F9-1C1234A7939E}"/>
          </ac:picMkLst>
        </pc:picChg>
        <pc:picChg chg="add mod">
          <ac:chgData name="Ziter, Timothy" userId="d05d3a43-c08b-4bf4-957b-eacc6ecc84fa" providerId="ADAL" clId="{B5639068-6E70-497A-814B-B5DC99DC97ED}" dt="2022-11-02T10:09:11.523" v="3201" actId="1076"/>
          <ac:picMkLst>
            <pc:docMk/>
            <pc:sldMk cId="2206117052" sldId="294"/>
            <ac:picMk id="17" creationId="{D62471DA-6E2B-42A5-8CC3-D147B9540C43}"/>
          </ac:picMkLst>
        </pc:picChg>
        <pc:picChg chg="del mod">
          <ac:chgData name="Ziter, Timothy" userId="d05d3a43-c08b-4bf4-957b-eacc6ecc84fa" providerId="ADAL" clId="{B5639068-6E70-497A-814B-B5DC99DC97ED}" dt="2022-11-02T10:07:58.611" v="3106" actId="478"/>
          <ac:picMkLst>
            <pc:docMk/>
            <pc:sldMk cId="2206117052" sldId="294"/>
            <ac:picMk id="19" creationId="{0572D8DF-A4EC-4188-9D19-340F0242B1A5}"/>
          </ac:picMkLst>
        </pc:picChg>
        <pc:picChg chg="del mod">
          <ac:chgData name="Ziter, Timothy" userId="d05d3a43-c08b-4bf4-957b-eacc6ecc84fa" providerId="ADAL" clId="{B5639068-6E70-497A-814B-B5DC99DC97ED}" dt="2022-11-02T10:07:58.063" v="3105" actId="478"/>
          <ac:picMkLst>
            <pc:docMk/>
            <pc:sldMk cId="2206117052" sldId="294"/>
            <ac:picMk id="20" creationId="{B1D2E8DF-56AA-48B5-A7E6-5504C8C6A580}"/>
          </ac:picMkLst>
        </pc:picChg>
        <pc:picChg chg="del mod">
          <ac:chgData name="Ziter, Timothy" userId="d05d3a43-c08b-4bf4-957b-eacc6ecc84fa" providerId="ADAL" clId="{B5639068-6E70-497A-814B-B5DC99DC97ED}" dt="2022-11-02T10:07:59.153" v="3107" actId="478"/>
          <ac:picMkLst>
            <pc:docMk/>
            <pc:sldMk cId="2206117052" sldId="294"/>
            <ac:picMk id="21" creationId="{D18971E2-0124-44B6-BF32-99A3227E411D}"/>
          </ac:picMkLst>
        </pc:picChg>
        <pc:picChg chg="del mod">
          <ac:chgData name="Ziter, Timothy" userId="d05d3a43-c08b-4bf4-957b-eacc6ecc84fa" providerId="ADAL" clId="{B5639068-6E70-497A-814B-B5DC99DC97ED}" dt="2022-11-02T10:07:57.422" v="3104" actId="478"/>
          <ac:picMkLst>
            <pc:docMk/>
            <pc:sldMk cId="2206117052" sldId="294"/>
            <ac:picMk id="22" creationId="{12EFB808-96E5-4693-919C-4FDDF25F97DA}"/>
          </ac:picMkLst>
        </pc:picChg>
        <pc:picChg chg="add mod">
          <ac:chgData name="Ziter, Timothy" userId="d05d3a43-c08b-4bf4-957b-eacc6ecc84fa" providerId="ADAL" clId="{B5639068-6E70-497A-814B-B5DC99DC97ED}" dt="2022-11-02T10:09:24.194" v="3209" actId="1076"/>
          <ac:picMkLst>
            <pc:docMk/>
            <pc:sldMk cId="2206117052" sldId="294"/>
            <ac:picMk id="23" creationId="{A0F41E07-1F7F-408A-AF12-8631C0244378}"/>
          </ac:picMkLst>
        </pc:picChg>
      </pc:sldChg>
      <pc:sldChg chg="addSp delSp modSp add mod">
        <pc:chgData name="Ziter, Timothy" userId="d05d3a43-c08b-4bf4-957b-eacc6ecc84fa" providerId="ADAL" clId="{B5639068-6E70-497A-814B-B5DC99DC97ED}" dt="2022-11-02T10:13:59.790" v="3483" actId="1076"/>
        <pc:sldMkLst>
          <pc:docMk/>
          <pc:sldMk cId="2257182393" sldId="295"/>
        </pc:sldMkLst>
        <pc:spChg chg="mod">
          <ac:chgData name="Ziter, Timothy" userId="d05d3a43-c08b-4bf4-957b-eacc6ecc84fa" providerId="ADAL" clId="{B5639068-6E70-497A-814B-B5DC99DC97ED}" dt="2022-11-02T10:09:48.498" v="3243" actId="20577"/>
          <ac:spMkLst>
            <pc:docMk/>
            <pc:sldMk cId="2257182393" sldId="295"/>
            <ac:spMk id="7" creationId="{74AA617D-8219-4F65-AF47-6C3E66D6D26E}"/>
          </ac:spMkLst>
        </pc:spChg>
        <pc:spChg chg="mod">
          <ac:chgData name="Ziter, Timothy" userId="d05d3a43-c08b-4bf4-957b-eacc6ecc84fa" providerId="ADAL" clId="{B5639068-6E70-497A-814B-B5DC99DC97ED}" dt="2022-11-02T10:11:48.106" v="3380" actId="20577"/>
          <ac:spMkLst>
            <pc:docMk/>
            <pc:sldMk cId="2257182393" sldId="295"/>
            <ac:spMk id="11" creationId="{BF394AAC-495D-4337-8DC5-3198EEA8D27F}"/>
          </ac:spMkLst>
        </pc:spChg>
        <pc:spChg chg="mod">
          <ac:chgData name="Ziter, Timothy" userId="d05d3a43-c08b-4bf4-957b-eacc6ecc84fa" providerId="ADAL" clId="{B5639068-6E70-497A-814B-B5DC99DC97ED}" dt="2022-11-02T10:12:41.197" v="3451" actId="1035"/>
          <ac:spMkLst>
            <pc:docMk/>
            <pc:sldMk cId="2257182393" sldId="295"/>
            <ac:spMk id="12" creationId="{EE20109F-0C11-4467-9232-876FF5EAD88B}"/>
          </ac:spMkLst>
        </pc:spChg>
        <pc:spChg chg="mod">
          <ac:chgData name="Ziter, Timothy" userId="d05d3a43-c08b-4bf4-957b-eacc6ecc84fa" providerId="ADAL" clId="{B5639068-6E70-497A-814B-B5DC99DC97ED}" dt="2022-11-02T10:13:34.751" v="3458" actId="1076"/>
          <ac:spMkLst>
            <pc:docMk/>
            <pc:sldMk cId="2257182393" sldId="295"/>
            <ac:spMk id="13" creationId="{40E0A525-CC27-4DAE-BB1D-69E7EBD4BCB5}"/>
          </ac:spMkLst>
        </pc:spChg>
        <pc:spChg chg="mod">
          <ac:chgData name="Ziter, Timothy" userId="d05d3a43-c08b-4bf4-957b-eacc6ecc84fa" providerId="ADAL" clId="{B5639068-6E70-497A-814B-B5DC99DC97ED}" dt="2022-11-02T10:10:29.150" v="3369" actId="20577"/>
          <ac:spMkLst>
            <pc:docMk/>
            <pc:sldMk cId="2257182393" sldId="295"/>
            <ac:spMk id="14" creationId="{7EBAFEA2-55BF-4B8E-8416-9B4B72881867}"/>
          </ac:spMkLst>
        </pc:spChg>
        <pc:spChg chg="mod">
          <ac:chgData name="Ziter, Timothy" userId="d05d3a43-c08b-4bf4-957b-eacc6ecc84fa" providerId="ADAL" clId="{B5639068-6E70-497A-814B-B5DC99DC97ED}" dt="2022-11-02T10:13:51.185" v="3481" actId="1035"/>
          <ac:spMkLst>
            <pc:docMk/>
            <pc:sldMk cId="2257182393" sldId="295"/>
            <ac:spMk id="18" creationId="{88842240-96D2-442A-9FDA-836D12ADFEA2}"/>
          </ac:spMkLst>
        </pc:spChg>
        <pc:grpChg chg="mod">
          <ac:chgData name="Ziter, Timothy" userId="d05d3a43-c08b-4bf4-957b-eacc6ecc84fa" providerId="ADAL" clId="{B5639068-6E70-497A-814B-B5DC99DC97ED}" dt="2022-11-02T10:09:39.019" v="3211"/>
          <ac:grpSpMkLst>
            <pc:docMk/>
            <pc:sldMk cId="2257182393" sldId="295"/>
            <ac:grpSpMk id="1" creationId="{00000000-0000-0000-0000-000000000000}"/>
          </ac:grpSpMkLst>
        </pc:grpChg>
        <pc:graphicFrameChg chg="mod">
          <ac:chgData name="Ziter, Timothy" userId="d05d3a43-c08b-4bf4-957b-eacc6ecc84fa" providerId="ADAL" clId="{B5639068-6E70-497A-814B-B5DC99DC97ED}" dt="2022-11-02T10:09:49.018" v="3246"/>
          <ac:graphicFrameMkLst>
            <pc:docMk/>
            <pc:sldMk cId="2257182393" sldId="295"/>
            <ac:graphicFrameMk id="2" creationId="{F05424D2-5A7B-43E2-860C-0F35FD90AF14}"/>
          </ac:graphicFrameMkLst>
        </pc:graphicFrameChg>
        <pc:picChg chg="add mod">
          <ac:chgData name="Ziter, Timothy" userId="d05d3a43-c08b-4bf4-957b-eacc6ecc84fa" providerId="ADAL" clId="{B5639068-6E70-497A-814B-B5DC99DC97ED}" dt="2022-11-02T10:11:41.463" v="3376" actId="692"/>
          <ac:picMkLst>
            <pc:docMk/>
            <pc:sldMk cId="2257182393" sldId="295"/>
            <ac:picMk id="4" creationId="{55A7B5F1-B071-44AA-9CD0-E8FE6BE961F7}"/>
          </ac:picMkLst>
        </pc:picChg>
        <pc:picChg chg="add mod">
          <ac:chgData name="Ziter, Timothy" userId="d05d3a43-c08b-4bf4-957b-eacc6ecc84fa" providerId="ADAL" clId="{B5639068-6E70-497A-814B-B5DC99DC97ED}" dt="2022-11-02T10:13:30.295" v="3457" actId="14100"/>
          <ac:picMkLst>
            <pc:docMk/>
            <pc:sldMk cId="2257182393" sldId="295"/>
            <ac:picMk id="6" creationId="{119F473F-CCC6-40FF-A443-43B56D8FB896}"/>
          </ac:picMkLst>
        </pc:picChg>
        <pc:picChg chg="del mod">
          <ac:chgData name="Ziter, Timothy" userId="d05d3a43-c08b-4bf4-957b-eacc6ecc84fa" providerId="ADAL" clId="{B5639068-6E70-497A-814B-B5DC99DC97ED}" dt="2022-11-02T10:12:28.739" v="3423" actId="478"/>
          <ac:picMkLst>
            <pc:docMk/>
            <pc:sldMk cId="2257182393" sldId="295"/>
            <ac:picMk id="15" creationId="{3E4BA8CA-FEF3-4E7F-9FC9-01F1D38BE55F}"/>
          </ac:picMkLst>
        </pc:picChg>
        <pc:picChg chg="del mod">
          <ac:chgData name="Ziter, Timothy" userId="d05d3a43-c08b-4bf4-957b-eacc6ecc84fa" providerId="ADAL" clId="{B5639068-6E70-497A-814B-B5DC99DC97ED}" dt="2022-11-02T10:13:18.301" v="3452" actId="478"/>
          <ac:picMkLst>
            <pc:docMk/>
            <pc:sldMk cId="2257182393" sldId="295"/>
            <ac:picMk id="16" creationId="{EAE1951D-305F-461F-A9F9-1C1234A7939E}"/>
          </ac:picMkLst>
        </pc:picChg>
        <pc:picChg chg="del mod">
          <ac:chgData name="Ziter, Timothy" userId="d05d3a43-c08b-4bf4-957b-eacc6ecc84fa" providerId="ADAL" clId="{B5639068-6E70-497A-814B-B5DC99DC97ED}" dt="2022-11-02T10:13:36.347" v="3459" actId="478"/>
          <ac:picMkLst>
            <pc:docMk/>
            <pc:sldMk cId="2257182393" sldId="295"/>
            <ac:picMk id="17" creationId="{D62471DA-6E2B-42A5-8CC3-D147B9540C43}"/>
          </ac:picMkLst>
        </pc:picChg>
        <pc:picChg chg="add mod">
          <ac:chgData name="Ziter, Timothy" userId="d05d3a43-c08b-4bf4-957b-eacc6ecc84fa" providerId="ADAL" clId="{B5639068-6E70-497A-814B-B5DC99DC97ED}" dt="2022-11-02T10:13:44.878" v="3460" actId="1076"/>
          <ac:picMkLst>
            <pc:docMk/>
            <pc:sldMk cId="2257182393" sldId="295"/>
            <ac:picMk id="19" creationId="{210AB2DE-A11E-4BFD-845D-856E6CD098EE}"/>
          </ac:picMkLst>
        </pc:picChg>
        <pc:picChg chg="add mod">
          <ac:chgData name="Ziter, Timothy" userId="d05d3a43-c08b-4bf4-957b-eacc6ecc84fa" providerId="ADAL" clId="{B5639068-6E70-497A-814B-B5DC99DC97ED}" dt="2022-11-02T10:13:59.790" v="3483" actId="1076"/>
          <ac:picMkLst>
            <pc:docMk/>
            <pc:sldMk cId="2257182393" sldId="295"/>
            <ac:picMk id="20" creationId="{633B6437-BD4C-4A4C-8C15-E616C9E5A959}"/>
          </ac:picMkLst>
        </pc:picChg>
        <pc:picChg chg="add mod">
          <ac:chgData name="Ziter, Timothy" userId="d05d3a43-c08b-4bf4-957b-eacc6ecc84fa" providerId="ADAL" clId="{B5639068-6E70-497A-814B-B5DC99DC97ED}" dt="2022-11-02T10:12:35.089" v="3425" actId="14100"/>
          <ac:picMkLst>
            <pc:docMk/>
            <pc:sldMk cId="2257182393" sldId="295"/>
            <ac:picMk id="21" creationId="{32B8A5B1-6EE8-4E86-B7AD-802DD73F3B00}"/>
          </ac:picMkLst>
        </pc:picChg>
        <pc:picChg chg="del mod">
          <ac:chgData name="Ziter, Timothy" userId="d05d3a43-c08b-4bf4-957b-eacc6ecc84fa" providerId="ADAL" clId="{B5639068-6E70-497A-814B-B5DC99DC97ED}" dt="2022-11-02T10:13:52.452" v="3482" actId="478"/>
          <ac:picMkLst>
            <pc:docMk/>
            <pc:sldMk cId="2257182393" sldId="295"/>
            <ac:picMk id="23" creationId="{A0F41E07-1F7F-408A-AF12-8631C0244378}"/>
          </ac:picMkLst>
        </pc:picChg>
      </pc:sldChg>
      <pc:sldChg chg="addSp delSp modSp add mod">
        <pc:chgData name="Ziter, Timothy" userId="d05d3a43-c08b-4bf4-957b-eacc6ecc84fa" providerId="ADAL" clId="{B5639068-6E70-497A-814B-B5DC99DC97ED}" dt="2022-11-02T10:19:35.481" v="3798" actId="1076"/>
        <pc:sldMkLst>
          <pc:docMk/>
          <pc:sldMk cId="413788897" sldId="296"/>
        </pc:sldMkLst>
        <pc:spChg chg="mod">
          <ac:chgData name="Ziter, Timothy" userId="d05d3a43-c08b-4bf4-957b-eacc6ecc84fa" providerId="ADAL" clId="{B5639068-6E70-497A-814B-B5DC99DC97ED}" dt="2022-11-02T10:15:13.558" v="3485"/>
          <ac:spMkLst>
            <pc:docMk/>
            <pc:sldMk cId="413788897" sldId="296"/>
            <ac:spMk id="7" creationId="{74AA617D-8219-4F65-AF47-6C3E66D6D26E}"/>
          </ac:spMkLst>
        </pc:spChg>
        <pc:spChg chg="mod">
          <ac:chgData name="Ziter, Timothy" userId="d05d3a43-c08b-4bf4-957b-eacc6ecc84fa" providerId="ADAL" clId="{B5639068-6E70-497A-814B-B5DC99DC97ED}" dt="2022-11-02T10:16:58.738" v="3693" actId="20577"/>
          <ac:spMkLst>
            <pc:docMk/>
            <pc:sldMk cId="413788897" sldId="296"/>
            <ac:spMk id="11" creationId="{BF394AAC-495D-4337-8DC5-3198EEA8D27F}"/>
          </ac:spMkLst>
        </pc:spChg>
        <pc:spChg chg="mod">
          <ac:chgData name="Ziter, Timothy" userId="d05d3a43-c08b-4bf4-957b-eacc6ecc84fa" providerId="ADAL" clId="{B5639068-6E70-497A-814B-B5DC99DC97ED}" dt="2022-11-02T10:19:10.058" v="3776" actId="1036"/>
          <ac:spMkLst>
            <pc:docMk/>
            <pc:sldMk cId="413788897" sldId="296"/>
            <ac:spMk id="12" creationId="{EE20109F-0C11-4467-9232-876FF5EAD88B}"/>
          </ac:spMkLst>
        </pc:spChg>
        <pc:spChg chg="mod">
          <ac:chgData name="Ziter, Timothy" userId="d05d3a43-c08b-4bf4-957b-eacc6ecc84fa" providerId="ADAL" clId="{B5639068-6E70-497A-814B-B5DC99DC97ED}" dt="2022-11-02T10:19:02.510" v="3769" actId="1076"/>
          <ac:spMkLst>
            <pc:docMk/>
            <pc:sldMk cId="413788897" sldId="296"/>
            <ac:spMk id="13" creationId="{40E0A525-CC27-4DAE-BB1D-69E7EBD4BCB5}"/>
          </ac:spMkLst>
        </pc:spChg>
        <pc:spChg chg="mod">
          <ac:chgData name="Ziter, Timothy" userId="d05d3a43-c08b-4bf4-957b-eacc6ecc84fa" providerId="ADAL" clId="{B5639068-6E70-497A-814B-B5DC99DC97ED}" dt="2022-11-02T10:16:41.123" v="3671" actId="12"/>
          <ac:spMkLst>
            <pc:docMk/>
            <pc:sldMk cId="413788897" sldId="296"/>
            <ac:spMk id="14" creationId="{7EBAFEA2-55BF-4B8E-8416-9B4B72881867}"/>
          </ac:spMkLst>
        </pc:spChg>
        <pc:spChg chg="mod">
          <ac:chgData name="Ziter, Timothy" userId="d05d3a43-c08b-4bf4-957b-eacc6ecc84fa" providerId="ADAL" clId="{B5639068-6E70-497A-814B-B5DC99DC97ED}" dt="2022-11-02T10:19:30.151" v="3797" actId="1035"/>
          <ac:spMkLst>
            <pc:docMk/>
            <pc:sldMk cId="413788897" sldId="296"/>
            <ac:spMk id="18" creationId="{88842240-96D2-442A-9FDA-836D12ADFEA2}"/>
          </ac:spMkLst>
        </pc:spChg>
        <pc:grpChg chg="mod">
          <ac:chgData name="Ziter, Timothy" userId="d05d3a43-c08b-4bf4-957b-eacc6ecc84fa" providerId="ADAL" clId="{B5639068-6E70-497A-814B-B5DC99DC97ED}" dt="2022-11-02T10:15:13.558" v="3485"/>
          <ac:grpSpMkLst>
            <pc:docMk/>
            <pc:sldMk cId="413788897" sldId="296"/>
            <ac:grpSpMk id="1" creationId="{00000000-0000-0000-0000-000000000000}"/>
          </ac:grpSpMkLst>
        </pc:grpChg>
        <pc:graphicFrameChg chg="mod">
          <ac:chgData name="Ziter, Timothy" userId="d05d3a43-c08b-4bf4-957b-eacc6ecc84fa" providerId="ADAL" clId="{B5639068-6E70-497A-814B-B5DC99DC97ED}" dt="2022-11-02T10:15:13.558" v="3485"/>
          <ac:graphicFrameMkLst>
            <pc:docMk/>
            <pc:sldMk cId="413788897" sldId="296"/>
            <ac:graphicFrameMk id="2" creationId="{F05424D2-5A7B-43E2-860C-0F35FD90AF14}"/>
          </ac:graphicFrameMkLst>
        </pc:graphicFrameChg>
        <pc:picChg chg="del mod">
          <ac:chgData name="Ziter, Timothy" userId="d05d3a43-c08b-4bf4-957b-eacc6ecc84fa" providerId="ADAL" clId="{B5639068-6E70-497A-814B-B5DC99DC97ED}" dt="2022-11-02T10:15:21.134" v="3486" actId="478"/>
          <ac:picMkLst>
            <pc:docMk/>
            <pc:sldMk cId="413788897" sldId="296"/>
            <ac:picMk id="4" creationId="{55A7B5F1-B071-44AA-9CD0-E8FE6BE961F7}"/>
          </ac:picMkLst>
        </pc:picChg>
        <pc:picChg chg="add mod">
          <ac:chgData name="Ziter, Timothy" userId="d05d3a43-c08b-4bf4-957b-eacc6ecc84fa" providerId="ADAL" clId="{B5639068-6E70-497A-814B-B5DC99DC97ED}" dt="2022-11-02T10:16:53.241" v="3672" actId="1076"/>
          <ac:picMkLst>
            <pc:docMk/>
            <pc:sldMk cId="413788897" sldId="296"/>
            <ac:picMk id="5" creationId="{C8291631-F2A8-416E-837D-81FE1CAE0A45}"/>
          </ac:picMkLst>
        </pc:picChg>
        <pc:picChg chg="del mod">
          <ac:chgData name="Ziter, Timothy" userId="d05d3a43-c08b-4bf4-957b-eacc6ecc84fa" providerId="ADAL" clId="{B5639068-6E70-497A-814B-B5DC99DC97ED}" dt="2022-11-02T10:18:06.472" v="3756" actId="478"/>
          <ac:picMkLst>
            <pc:docMk/>
            <pc:sldMk cId="413788897" sldId="296"/>
            <ac:picMk id="6" creationId="{119F473F-CCC6-40FF-A443-43B56D8FB896}"/>
          </ac:picMkLst>
        </pc:picChg>
        <pc:picChg chg="add mod">
          <ac:chgData name="Ziter, Timothy" userId="d05d3a43-c08b-4bf4-957b-eacc6ecc84fa" providerId="ADAL" clId="{B5639068-6E70-497A-814B-B5DC99DC97ED}" dt="2022-11-02T10:19:19.069" v="3778" actId="1076"/>
          <ac:picMkLst>
            <pc:docMk/>
            <pc:sldMk cId="413788897" sldId="296"/>
            <ac:picMk id="9" creationId="{A244DD7A-A9A0-4972-B1E5-6A846606CD2A}"/>
          </ac:picMkLst>
        </pc:picChg>
        <pc:picChg chg="del mod">
          <ac:chgData name="Ziter, Timothy" userId="d05d3a43-c08b-4bf4-957b-eacc6ecc84fa" providerId="ADAL" clId="{B5639068-6E70-497A-814B-B5DC99DC97ED}" dt="2022-11-02T10:18:04.916" v="3754" actId="478"/>
          <ac:picMkLst>
            <pc:docMk/>
            <pc:sldMk cId="413788897" sldId="296"/>
            <ac:picMk id="19" creationId="{210AB2DE-A11E-4BFD-845D-856E6CD098EE}"/>
          </ac:picMkLst>
        </pc:picChg>
        <pc:picChg chg="del mod">
          <ac:chgData name="Ziter, Timothy" userId="d05d3a43-c08b-4bf4-957b-eacc6ecc84fa" providerId="ADAL" clId="{B5639068-6E70-497A-814B-B5DC99DC97ED}" dt="2022-11-02T10:18:05.766" v="3755" actId="478"/>
          <ac:picMkLst>
            <pc:docMk/>
            <pc:sldMk cId="413788897" sldId="296"/>
            <ac:picMk id="20" creationId="{633B6437-BD4C-4A4C-8C15-E616C9E5A959}"/>
          </ac:picMkLst>
        </pc:picChg>
        <pc:picChg chg="del mod">
          <ac:chgData name="Ziter, Timothy" userId="d05d3a43-c08b-4bf4-957b-eacc6ecc84fa" providerId="ADAL" clId="{B5639068-6E70-497A-814B-B5DC99DC97ED}" dt="2022-11-02T10:18:07.262" v="3757" actId="478"/>
          <ac:picMkLst>
            <pc:docMk/>
            <pc:sldMk cId="413788897" sldId="296"/>
            <ac:picMk id="21" creationId="{32B8A5B1-6EE8-4E86-B7AD-802DD73F3B00}"/>
          </ac:picMkLst>
        </pc:picChg>
        <pc:picChg chg="add mod">
          <ac:chgData name="Ziter, Timothy" userId="d05d3a43-c08b-4bf4-957b-eacc6ecc84fa" providerId="ADAL" clId="{B5639068-6E70-497A-814B-B5DC99DC97ED}" dt="2022-11-02T10:18:38.309" v="3766" actId="1076"/>
          <ac:picMkLst>
            <pc:docMk/>
            <pc:sldMk cId="413788897" sldId="296"/>
            <ac:picMk id="22" creationId="{072300BD-2BD3-4A3D-8D66-642EA03CE164}"/>
          </ac:picMkLst>
        </pc:picChg>
        <pc:picChg chg="add mod">
          <ac:chgData name="Ziter, Timothy" userId="d05d3a43-c08b-4bf4-957b-eacc6ecc84fa" providerId="ADAL" clId="{B5639068-6E70-497A-814B-B5DC99DC97ED}" dt="2022-11-02T10:19:05.129" v="3773" actId="1036"/>
          <ac:picMkLst>
            <pc:docMk/>
            <pc:sldMk cId="413788897" sldId="296"/>
            <ac:picMk id="23" creationId="{EBAE7D9C-756F-4BCB-848E-76953770328B}"/>
          </ac:picMkLst>
        </pc:picChg>
        <pc:picChg chg="add mod">
          <ac:chgData name="Ziter, Timothy" userId="d05d3a43-c08b-4bf4-957b-eacc6ecc84fa" providerId="ADAL" clId="{B5639068-6E70-497A-814B-B5DC99DC97ED}" dt="2022-11-02T10:19:35.481" v="3798" actId="1076"/>
          <ac:picMkLst>
            <pc:docMk/>
            <pc:sldMk cId="413788897" sldId="296"/>
            <ac:picMk id="24" creationId="{25CEE5C0-DE96-499E-A56B-99D3AE663B23}"/>
          </ac:picMkLst>
        </pc:picChg>
      </pc:sldChg>
      <pc:sldChg chg="modSp add mod ord">
        <pc:chgData name="Ziter, Timothy" userId="d05d3a43-c08b-4bf4-957b-eacc6ecc84fa" providerId="ADAL" clId="{B5639068-6E70-497A-814B-B5DC99DC97ED}" dt="2022-11-02T10:20:11.050" v="3829"/>
        <pc:sldMkLst>
          <pc:docMk/>
          <pc:sldMk cId="2257876412" sldId="297"/>
        </pc:sldMkLst>
        <pc:spChg chg="mod">
          <ac:chgData name="Ziter, Timothy" userId="d05d3a43-c08b-4bf4-957b-eacc6ecc84fa" providerId="ADAL" clId="{B5639068-6E70-497A-814B-B5DC99DC97ED}" dt="2022-11-02T10:20:10.525" v="3826" actId="20577"/>
          <ac:spMkLst>
            <pc:docMk/>
            <pc:sldMk cId="2257876412" sldId="297"/>
            <ac:spMk id="367" creationId="{00000000-0000-0000-0000-000000000000}"/>
          </ac:spMkLst>
        </pc:spChg>
        <pc:grpChg chg="mod">
          <ac:chgData name="Ziter, Timothy" userId="d05d3a43-c08b-4bf4-957b-eacc6ecc84fa" providerId="ADAL" clId="{B5639068-6E70-497A-814B-B5DC99DC97ED}" dt="2022-11-02T10:20:00.453" v="3800"/>
          <ac:grpSpMkLst>
            <pc:docMk/>
            <pc:sldMk cId="2257876412" sldId="297"/>
            <ac:grpSpMk id="1" creationId="{00000000-0000-0000-0000-000000000000}"/>
          </ac:grpSpMkLst>
        </pc:grpChg>
        <pc:graphicFrameChg chg="mod">
          <ac:chgData name="Ziter, Timothy" userId="d05d3a43-c08b-4bf4-957b-eacc6ecc84fa" providerId="ADAL" clId="{B5639068-6E70-497A-814B-B5DC99DC97ED}" dt="2022-11-02T10:20:11.050" v="3829"/>
          <ac:graphicFrameMkLst>
            <pc:docMk/>
            <pc:sldMk cId="2257876412" sldId="297"/>
            <ac:graphicFrameMk id="2" creationId="{66033AF3-8D5E-42C6-992A-F15A4B34BE77}"/>
          </ac:graphicFrameMkLst>
        </pc:graphicFrameChg>
      </pc:sldChg>
      <pc:sldChg chg="delSp modSp add mod ord">
        <pc:chgData name="Ziter, Timothy" userId="d05d3a43-c08b-4bf4-957b-eacc6ecc84fa" providerId="ADAL" clId="{B5639068-6E70-497A-814B-B5DC99DC97ED}" dt="2022-11-02T10:22:57.466" v="3917" actId="14100"/>
        <pc:sldMkLst>
          <pc:docMk/>
          <pc:sldMk cId="2904640673" sldId="298"/>
        </pc:sldMkLst>
        <pc:spChg chg="del mod">
          <ac:chgData name="Ziter, Timothy" userId="d05d3a43-c08b-4bf4-957b-eacc6ecc84fa" providerId="ADAL" clId="{B5639068-6E70-497A-814B-B5DC99DC97ED}" dt="2022-11-02T10:22:03.449" v="3896" actId="478"/>
          <ac:spMkLst>
            <pc:docMk/>
            <pc:sldMk cId="2904640673" sldId="298"/>
            <ac:spMk id="20" creationId="{EC685F05-2660-43A6-BEF2-F20EEBE7151A}"/>
          </ac:spMkLst>
        </pc:spChg>
        <pc:spChg chg="mod">
          <ac:chgData name="Ziter, Timothy" userId="d05d3a43-c08b-4bf4-957b-eacc6ecc84fa" providerId="ADAL" clId="{B5639068-6E70-497A-814B-B5DC99DC97ED}" dt="2022-11-02T10:22:57.466" v="3917" actId="14100"/>
          <ac:spMkLst>
            <pc:docMk/>
            <pc:sldMk cId="2904640673" sldId="298"/>
            <ac:spMk id="404" creationId="{00000000-0000-0000-0000-000000000000}"/>
          </ac:spMkLst>
        </pc:spChg>
        <pc:spChg chg="mod">
          <ac:chgData name="Ziter, Timothy" userId="d05d3a43-c08b-4bf4-957b-eacc6ecc84fa" providerId="ADAL" clId="{B5639068-6E70-497A-814B-B5DC99DC97ED}" dt="2022-11-02T10:21:56.806" v="3891" actId="20577"/>
          <ac:spMkLst>
            <pc:docMk/>
            <pc:sldMk cId="2904640673" sldId="298"/>
            <ac:spMk id="405" creationId="{00000000-0000-0000-0000-000000000000}"/>
          </ac:spMkLst>
        </pc:spChg>
        <pc:grpChg chg="mod">
          <ac:chgData name="Ziter, Timothy" userId="d05d3a43-c08b-4bf4-957b-eacc6ecc84fa" providerId="ADAL" clId="{B5639068-6E70-497A-814B-B5DC99DC97ED}" dt="2022-11-02T10:21:38.408" v="3864"/>
          <ac:grpSpMkLst>
            <pc:docMk/>
            <pc:sldMk cId="2904640673" sldId="298"/>
            <ac:grpSpMk id="1" creationId="{00000000-0000-0000-0000-000000000000}"/>
          </ac:grpSpMkLst>
        </pc:grpChg>
        <pc:graphicFrameChg chg="mod">
          <ac:chgData name="Ziter, Timothy" userId="d05d3a43-c08b-4bf4-957b-eacc6ecc84fa" providerId="ADAL" clId="{B5639068-6E70-497A-814B-B5DC99DC97ED}" dt="2022-11-02T10:21:57.311" v="3894"/>
          <ac:graphicFrameMkLst>
            <pc:docMk/>
            <pc:sldMk cId="2904640673" sldId="298"/>
            <ac:graphicFrameMk id="2" creationId="{E8A453E0-8ADD-4165-9B2C-09F5AB61ABB9}"/>
          </ac:graphicFrameMkLst>
        </pc:graphicFrameChg>
        <pc:picChg chg="del mod">
          <ac:chgData name="Ziter, Timothy" userId="d05d3a43-c08b-4bf4-957b-eacc6ecc84fa" providerId="ADAL" clId="{B5639068-6E70-497A-814B-B5DC99DC97ED}" dt="2022-11-02T10:22:00.921" v="3895" actId="478"/>
          <ac:picMkLst>
            <pc:docMk/>
            <pc:sldMk cId="2904640673" sldId="298"/>
            <ac:picMk id="18" creationId="{F667CD4C-0CEF-4B0C-B562-C3737B8F245F}"/>
          </ac:picMkLst>
        </pc:picChg>
      </pc:sldChg>
      <pc:sldChg chg="modSp add mod">
        <pc:chgData name="Ziter, Timothy" userId="d05d3a43-c08b-4bf4-957b-eacc6ecc84fa" providerId="ADAL" clId="{B5639068-6E70-497A-814B-B5DC99DC97ED}" dt="2022-11-02T10:23:38.846" v="3937"/>
        <pc:sldMkLst>
          <pc:docMk/>
          <pc:sldMk cId="42189789" sldId="299"/>
        </pc:sldMkLst>
        <pc:spChg chg="mod">
          <ac:chgData name="Ziter, Timothy" userId="d05d3a43-c08b-4bf4-957b-eacc6ecc84fa" providerId="ADAL" clId="{B5639068-6E70-497A-814B-B5DC99DC97ED}" dt="2022-11-02T10:23:26.866" v="3927" actId="27636"/>
          <ac:spMkLst>
            <pc:docMk/>
            <pc:sldMk cId="42189789" sldId="299"/>
            <ac:spMk id="404" creationId="{00000000-0000-0000-0000-000000000000}"/>
          </ac:spMkLst>
        </pc:spChg>
        <pc:spChg chg="mod">
          <ac:chgData name="Ziter, Timothy" userId="d05d3a43-c08b-4bf4-957b-eacc6ecc84fa" providerId="ADAL" clId="{B5639068-6E70-497A-814B-B5DC99DC97ED}" dt="2022-11-02T10:23:38.329" v="3934" actId="20577"/>
          <ac:spMkLst>
            <pc:docMk/>
            <pc:sldMk cId="42189789" sldId="299"/>
            <ac:spMk id="405" creationId="{00000000-0000-0000-0000-000000000000}"/>
          </ac:spMkLst>
        </pc:spChg>
        <pc:grpChg chg="mod">
          <ac:chgData name="Ziter, Timothy" userId="d05d3a43-c08b-4bf4-957b-eacc6ecc84fa" providerId="ADAL" clId="{B5639068-6E70-497A-814B-B5DC99DC97ED}" dt="2022-11-02T10:23:01.298" v="3919"/>
          <ac:grpSpMkLst>
            <pc:docMk/>
            <pc:sldMk cId="42189789" sldId="299"/>
            <ac:grpSpMk id="1" creationId="{00000000-0000-0000-0000-000000000000}"/>
          </ac:grpSpMkLst>
        </pc:grpChg>
        <pc:graphicFrameChg chg="mod">
          <ac:chgData name="Ziter, Timothy" userId="d05d3a43-c08b-4bf4-957b-eacc6ecc84fa" providerId="ADAL" clId="{B5639068-6E70-497A-814B-B5DC99DC97ED}" dt="2022-11-02T10:23:38.846" v="3937"/>
          <ac:graphicFrameMkLst>
            <pc:docMk/>
            <pc:sldMk cId="42189789" sldId="299"/>
            <ac:graphicFrameMk id="2" creationId="{E8A453E0-8ADD-4165-9B2C-09F5AB61ABB9}"/>
          </ac:graphicFrameMkLst>
        </pc:graphicFrameChg>
      </pc:sldChg>
      <pc:sldMasterChg chg="addSp modSp mod delSldLayout">
        <pc:chgData name="Ziter, Timothy" userId="d05d3a43-c08b-4bf4-957b-eacc6ecc84fa" providerId="ADAL" clId="{B5639068-6E70-497A-814B-B5DC99DC97ED}" dt="2022-11-02T10:25:32.137" v="4020" actId="47"/>
        <pc:sldMasterMkLst>
          <pc:docMk/>
          <pc:sldMasterMk cId="0" sldId="2147483681"/>
        </pc:sldMasterMkLst>
        <pc:graphicFrameChg chg="add mod ord modVis replST">
          <ac:chgData name="Ziter, Timothy" userId="d05d3a43-c08b-4bf4-957b-eacc6ecc84fa" providerId="ADAL" clId="{B5639068-6E70-497A-814B-B5DC99DC97ED}" dt="2022-11-01T21:54:27.915" v="111"/>
          <ac:graphicFrameMkLst>
            <pc:docMk/>
            <pc:sldMasterMk cId="0" sldId="2147483681"/>
            <ac:graphicFrameMk id="2" creationId="{1AB85D11-55F2-4237-9E20-4DBE3F190908}"/>
          </ac:graphicFrameMkLst>
        </pc:graphicFrameChg>
        <pc:sldLayoutChg chg="del">
          <pc:chgData name="Ziter, Timothy" userId="d05d3a43-c08b-4bf4-957b-eacc6ecc84fa" providerId="ADAL" clId="{B5639068-6E70-497A-814B-B5DC99DC97ED}" dt="2022-11-02T10:24:52.551" v="4015" actId="47"/>
          <pc:sldLayoutMkLst>
            <pc:docMk/>
            <pc:sldMasterMk cId="0" sldId="2147483681"/>
            <pc:sldLayoutMk cId="0" sldId="2147483648"/>
          </pc:sldLayoutMkLst>
        </pc:sldLayoutChg>
        <pc:sldLayoutChg chg="del">
          <pc:chgData name="Ziter, Timothy" userId="d05d3a43-c08b-4bf4-957b-eacc6ecc84fa" providerId="ADAL" clId="{B5639068-6E70-497A-814B-B5DC99DC97ED}" dt="2022-11-02T10:25:07.768" v="4018" actId="47"/>
          <pc:sldLayoutMkLst>
            <pc:docMk/>
            <pc:sldMasterMk cId="0" sldId="2147483681"/>
            <pc:sldLayoutMk cId="0" sldId="2147483649"/>
          </pc:sldLayoutMkLst>
        </pc:sldLayoutChg>
        <pc:sldLayoutChg chg="del">
          <pc:chgData name="Ziter, Timothy" userId="d05d3a43-c08b-4bf4-957b-eacc6ecc84fa" providerId="ADAL" clId="{B5639068-6E70-497A-814B-B5DC99DC97ED}" dt="2022-11-02T10:24:52.551" v="4015" actId="47"/>
          <pc:sldLayoutMkLst>
            <pc:docMk/>
            <pc:sldMasterMk cId="0" sldId="2147483681"/>
            <pc:sldLayoutMk cId="0" sldId="2147483651"/>
          </pc:sldLayoutMkLst>
        </pc:sldLayoutChg>
        <pc:sldLayoutChg chg="del">
          <pc:chgData name="Ziter, Timothy" userId="d05d3a43-c08b-4bf4-957b-eacc6ecc84fa" providerId="ADAL" clId="{B5639068-6E70-497A-814B-B5DC99DC97ED}" dt="2022-11-02T10:24:52.551" v="4015" actId="47"/>
          <pc:sldLayoutMkLst>
            <pc:docMk/>
            <pc:sldMasterMk cId="0" sldId="2147483681"/>
            <pc:sldLayoutMk cId="0" sldId="2147483653"/>
          </pc:sldLayoutMkLst>
        </pc:sldLayoutChg>
        <pc:sldLayoutChg chg="del">
          <pc:chgData name="Ziter, Timothy" userId="d05d3a43-c08b-4bf4-957b-eacc6ecc84fa" providerId="ADAL" clId="{B5639068-6E70-497A-814B-B5DC99DC97ED}" dt="2022-11-02T10:25:32.137" v="4020" actId="47"/>
          <pc:sldLayoutMkLst>
            <pc:docMk/>
            <pc:sldMasterMk cId="0" sldId="2147483681"/>
            <pc:sldLayoutMk cId="0" sldId="2147483654"/>
          </pc:sldLayoutMkLst>
        </pc:sldLayoutChg>
        <pc:sldLayoutChg chg="del">
          <pc:chgData name="Ziter, Timothy" userId="d05d3a43-c08b-4bf4-957b-eacc6ecc84fa" providerId="ADAL" clId="{B5639068-6E70-497A-814B-B5DC99DC97ED}" dt="2022-11-01T21:50:28.882" v="0" actId="2696"/>
          <pc:sldLayoutMkLst>
            <pc:docMk/>
            <pc:sldMasterMk cId="0" sldId="2147483681"/>
            <pc:sldLayoutMk cId="0" sldId="2147483655"/>
          </pc:sldLayoutMkLst>
        </pc:sldLayoutChg>
        <pc:sldLayoutChg chg="del">
          <pc:chgData name="Ziter, Timothy" userId="d05d3a43-c08b-4bf4-957b-eacc6ecc84fa" providerId="ADAL" clId="{B5639068-6E70-497A-814B-B5DC99DC97ED}" dt="2022-11-02T10:25:15.889" v="4019" actId="47"/>
          <pc:sldLayoutMkLst>
            <pc:docMk/>
            <pc:sldMasterMk cId="0" sldId="2147483681"/>
            <pc:sldLayoutMk cId="0" sldId="2147483658"/>
          </pc:sldLayoutMkLst>
        </pc:sldLayoutChg>
        <pc:sldLayoutChg chg="del">
          <pc:chgData name="Ziter, Timothy" userId="d05d3a43-c08b-4bf4-957b-eacc6ecc84fa" providerId="ADAL" clId="{B5639068-6E70-497A-814B-B5DC99DC97ED}" dt="2022-11-02T10:25:03.703" v="4017" actId="47"/>
          <pc:sldLayoutMkLst>
            <pc:docMk/>
            <pc:sldMasterMk cId="0" sldId="2147483681"/>
            <pc:sldLayoutMk cId="0" sldId="2147483659"/>
          </pc:sldLayoutMkLst>
        </pc:sldLayoutChg>
        <pc:sldLayoutChg chg="del">
          <pc:chgData name="Ziter, Timothy" userId="d05d3a43-c08b-4bf4-957b-eacc6ecc84fa" providerId="ADAL" clId="{B5639068-6E70-497A-814B-B5DC99DC97ED}" dt="2022-11-02T10:24:58.598" v="4016" actId="47"/>
          <pc:sldLayoutMkLst>
            <pc:docMk/>
            <pc:sldMasterMk cId="0" sldId="2147483681"/>
            <pc:sldLayoutMk cId="0" sldId="2147483660"/>
          </pc:sldLayoutMkLst>
        </pc:sldLayoutChg>
        <pc:sldLayoutChg chg="del">
          <pc:chgData name="Ziter, Timothy" userId="d05d3a43-c08b-4bf4-957b-eacc6ecc84fa" providerId="ADAL" clId="{B5639068-6E70-497A-814B-B5DC99DC97ED}" dt="2022-11-02T10:25:03.703" v="4017" actId="47"/>
          <pc:sldLayoutMkLst>
            <pc:docMk/>
            <pc:sldMasterMk cId="0" sldId="2147483681"/>
            <pc:sldLayoutMk cId="0" sldId="2147483661"/>
          </pc:sldLayoutMkLst>
        </pc:sldLayoutChg>
        <pc:sldLayoutChg chg="del">
          <pc:chgData name="Ziter, Timothy" userId="d05d3a43-c08b-4bf4-957b-eacc6ecc84fa" providerId="ADAL" clId="{B5639068-6E70-497A-814B-B5DC99DC97ED}" dt="2022-11-02T10:24:58.598" v="4016" actId="47"/>
          <pc:sldLayoutMkLst>
            <pc:docMk/>
            <pc:sldMasterMk cId="0" sldId="2147483681"/>
            <pc:sldLayoutMk cId="0" sldId="2147483662"/>
          </pc:sldLayoutMkLst>
        </pc:sldLayoutChg>
        <pc:sldLayoutChg chg="del">
          <pc:chgData name="Ziter, Timothy" userId="d05d3a43-c08b-4bf4-957b-eacc6ecc84fa" providerId="ADAL" clId="{B5639068-6E70-497A-814B-B5DC99DC97ED}" dt="2022-11-02T10:24:58.598" v="4016" actId="47"/>
          <pc:sldLayoutMkLst>
            <pc:docMk/>
            <pc:sldMasterMk cId="0" sldId="2147483681"/>
            <pc:sldLayoutMk cId="0" sldId="2147483663"/>
          </pc:sldLayoutMkLst>
        </pc:sldLayoutChg>
        <pc:sldLayoutChg chg="del">
          <pc:chgData name="Ziter, Timothy" userId="d05d3a43-c08b-4bf4-957b-eacc6ecc84fa" providerId="ADAL" clId="{B5639068-6E70-497A-814B-B5DC99DC97ED}" dt="2022-11-02T10:24:52.551" v="4015" actId="47"/>
          <pc:sldLayoutMkLst>
            <pc:docMk/>
            <pc:sldMasterMk cId="0" sldId="2147483681"/>
            <pc:sldLayoutMk cId="0" sldId="2147483664"/>
          </pc:sldLayoutMkLst>
        </pc:sldLayoutChg>
        <pc:sldLayoutChg chg="del">
          <pc:chgData name="Ziter, Timothy" userId="d05d3a43-c08b-4bf4-957b-eacc6ecc84fa" providerId="ADAL" clId="{B5639068-6E70-497A-814B-B5DC99DC97ED}" dt="2022-11-02T10:25:03.703" v="4017" actId="47"/>
          <pc:sldLayoutMkLst>
            <pc:docMk/>
            <pc:sldMasterMk cId="0" sldId="2147483681"/>
            <pc:sldLayoutMk cId="0" sldId="2147483666"/>
          </pc:sldLayoutMkLst>
        </pc:sldLayoutChg>
        <pc:sldLayoutChg chg="del">
          <pc:chgData name="Ziter, Timothy" userId="d05d3a43-c08b-4bf4-957b-eacc6ecc84fa" providerId="ADAL" clId="{B5639068-6E70-497A-814B-B5DC99DC97ED}" dt="2022-11-02T10:25:03.703" v="4017" actId="47"/>
          <pc:sldLayoutMkLst>
            <pc:docMk/>
            <pc:sldMasterMk cId="0" sldId="2147483681"/>
            <pc:sldLayoutMk cId="0" sldId="2147483667"/>
          </pc:sldLayoutMkLst>
        </pc:sldLayoutChg>
        <pc:sldLayoutChg chg="del">
          <pc:chgData name="Ziter, Timothy" userId="d05d3a43-c08b-4bf4-957b-eacc6ecc84fa" providerId="ADAL" clId="{B5639068-6E70-497A-814B-B5DC99DC97ED}" dt="2022-11-02T10:25:07.768" v="4018" actId="47"/>
          <pc:sldLayoutMkLst>
            <pc:docMk/>
            <pc:sldMasterMk cId="0" sldId="2147483681"/>
            <pc:sldLayoutMk cId="0" sldId="2147483668"/>
          </pc:sldLayoutMkLst>
        </pc:sldLayoutChg>
      </pc:sldMasterChg>
      <pc:sldMasterChg chg="addSp modSp del mod delSldLayout">
        <pc:chgData name="Ziter, Timothy" userId="d05d3a43-c08b-4bf4-957b-eacc6ecc84fa" providerId="ADAL" clId="{B5639068-6E70-497A-814B-B5DC99DC97ED}" dt="2022-11-02T10:24:58.598" v="4016" actId="47"/>
        <pc:sldMasterMkLst>
          <pc:docMk/>
          <pc:sldMasterMk cId="0" sldId="2147483682"/>
        </pc:sldMasterMkLst>
        <pc:graphicFrameChg chg="add mod ord modVis replST">
          <ac:chgData name="Ziter, Timothy" userId="d05d3a43-c08b-4bf4-957b-eacc6ecc84fa" providerId="ADAL" clId="{B5639068-6E70-497A-814B-B5DC99DC97ED}" dt="2022-11-01T21:54:27.943" v="127"/>
          <ac:graphicFrameMkLst>
            <pc:docMk/>
            <pc:sldMasterMk cId="0" sldId="2147483682"/>
            <ac:graphicFrameMk id="2" creationId="{E976ECEF-9E17-4858-9375-B55D46000025}"/>
          </ac:graphicFrameMkLst>
        </pc:graphicFrameChg>
        <pc:sldLayoutChg chg="del">
          <pc:chgData name="Ziter, Timothy" userId="d05d3a43-c08b-4bf4-957b-eacc6ecc84fa" providerId="ADAL" clId="{B5639068-6E70-497A-814B-B5DC99DC97ED}" dt="2022-11-02T10:24:58.598" v="4016" actId="47"/>
          <pc:sldLayoutMkLst>
            <pc:docMk/>
            <pc:sldMasterMk cId="0" sldId="2147483682"/>
            <pc:sldLayoutMk cId="0" sldId="2147483670"/>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1"/>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2"/>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3"/>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4"/>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5"/>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6"/>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7"/>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8"/>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79"/>
          </pc:sldLayoutMkLst>
        </pc:sldLayoutChg>
        <pc:sldLayoutChg chg="del">
          <pc:chgData name="Ziter, Timothy" userId="d05d3a43-c08b-4bf4-957b-eacc6ecc84fa" providerId="ADAL" clId="{B5639068-6E70-497A-814B-B5DC99DC97ED}" dt="2022-11-02T10:24:58.598" v="4016" actId="47"/>
          <pc:sldLayoutMkLst>
            <pc:docMk/>
            <pc:sldMasterMk cId="0" sldId="2147483682"/>
            <pc:sldLayoutMk cId="0" sldId="214748368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g1523964ec81_0_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2" name="Google Shape;282;g1523964ec81_0_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864317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56555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7143046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01115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594167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979488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2635127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423837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501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33604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24278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g1523964ec81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2" name="Google Shape;422;g1523964ec81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575110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g1523964ec81_0_2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5" name="Google Shape;365;g1523964ec81_0_29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528111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961366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30465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
        <p:cNvGrpSpPr/>
        <p:nvPr/>
      </p:nvGrpSpPr>
      <p:grpSpPr>
        <a:xfrm>
          <a:off x="0" y="0"/>
          <a:ext cx="0" cy="0"/>
          <a:chOff x="0" y="0"/>
          <a:chExt cx="0" cy="0"/>
        </a:xfrm>
      </p:grpSpPr>
      <p:sp>
        <p:nvSpPr>
          <p:cNvPr id="435" name="Google Shape;435;g1523964ec81_0_2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6" name="Google Shape;436;g1523964ec81_0_2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91785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650394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00139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19403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8632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1523964ec8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1523964ec8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90381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g1523964ec81_0_2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5" name="Google Shape;365;g1523964ec81_0_29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MarDreamin' Thank You Slide">
  <p:cSld name="TITLE_3_1">
    <p:spTree>
      <p:nvGrpSpPr>
        <p:cNvPr id="1" name="Shape 17"/>
        <p:cNvGrpSpPr/>
        <p:nvPr/>
      </p:nvGrpSpPr>
      <p:grpSpPr>
        <a:xfrm>
          <a:off x="0" y="0"/>
          <a:ext cx="0" cy="0"/>
          <a:chOff x="0" y="0"/>
          <a:chExt cx="0" cy="0"/>
        </a:xfrm>
      </p:grpSpPr>
      <p:pic>
        <p:nvPicPr>
          <p:cNvPr id="18" name="Google Shape;18;p4"/>
          <p:cNvPicPr preferRelativeResize="0"/>
          <p:nvPr/>
        </p:nvPicPr>
        <p:blipFill>
          <a:blip r:embed="rId2">
            <a:alphaModFix/>
          </a:blip>
          <a:stretch>
            <a:fillRect/>
          </a:stretch>
        </p:blipFill>
        <p:spPr>
          <a:xfrm>
            <a:off x="-32600" y="-18338"/>
            <a:ext cx="9209208" cy="5180174"/>
          </a:xfrm>
          <a:prstGeom prst="rect">
            <a:avLst/>
          </a:prstGeom>
          <a:noFill/>
          <a:ln>
            <a:noFill/>
          </a:ln>
        </p:spPr>
      </p:pic>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20" name="Google Shape;20;p4"/>
          <p:cNvPicPr preferRelativeResize="0"/>
          <p:nvPr/>
        </p:nvPicPr>
        <p:blipFill>
          <a:blip r:embed="rId2">
            <a:alphaModFix/>
          </a:blip>
          <a:stretch>
            <a:fillRect/>
          </a:stretch>
        </p:blipFill>
        <p:spPr>
          <a:xfrm>
            <a:off x="2" y="-3"/>
            <a:ext cx="9144000" cy="5143511"/>
          </a:xfrm>
          <a:prstGeom prst="rect">
            <a:avLst/>
          </a:prstGeom>
          <a:noFill/>
          <a:ln>
            <a:noFill/>
          </a:ln>
        </p:spPr>
      </p:pic>
      <p:sp>
        <p:nvSpPr>
          <p:cNvPr id="21" name="Google Shape;21;p4"/>
          <p:cNvSpPr txBox="1"/>
          <p:nvPr/>
        </p:nvSpPr>
        <p:spPr>
          <a:xfrm>
            <a:off x="342375" y="1890450"/>
            <a:ext cx="8598900" cy="539400"/>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None/>
            </a:pPr>
            <a:r>
              <a:rPr lang="en" sz="5000" b="1">
                <a:solidFill>
                  <a:srgbClr val="12191B"/>
                </a:solidFill>
                <a:latin typeface="Overpass"/>
                <a:ea typeface="Overpass"/>
                <a:cs typeface="Overpass"/>
                <a:sym typeface="Overpass"/>
              </a:rPr>
              <a:t>Thank you!</a:t>
            </a:r>
            <a:endParaRPr sz="5000" b="1">
              <a:solidFill>
                <a:srgbClr val="12191B"/>
              </a:solidFill>
              <a:latin typeface="Overpass"/>
              <a:ea typeface="Overpass"/>
              <a:cs typeface="Overpass"/>
              <a:sym typeface="Overpass"/>
            </a:endParaRPr>
          </a:p>
        </p:txBody>
      </p:sp>
      <p:sp>
        <p:nvSpPr>
          <p:cNvPr id="22" name="Google Shape;22;p4"/>
          <p:cNvSpPr txBox="1"/>
          <p:nvPr/>
        </p:nvSpPr>
        <p:spPr>
          <a:xfrm>
            <a:off x="342375" y="2429850"/>
            <a:ext cx="5681700" cy="7821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None/>
            </a:pPr>
            <a:r>
              <a:rPr lang="en">
                <a:solidFill>
                  <a:srgbClr val="12191B"/>
                </a:solidFill>
                <a:latin typeface="Overpass"/>
                <a:ea typeface="Overpass"/>
                <a:cs typeface="Overpass"/>
                <a:sym typeface="Overpass"/>
              </a:rPr>
              <a:t>We appreciate your attendance at this session. If you have any questions please reach out to us via Goldcast or use the information below. We hope you enjoy the rest of the conference!</a:t>
            </a:r>
            <a:br>
              <a:rPr lang="en">
                <a:solidFill>
                  <a:srgbClr val="12191B"/>
                </a:solidFill>
                <a:latin typeface="Overpass"/>
                <a:ea typeface="Overpass"/>
                <a:cs typeface="Overpass"/>
                <a:sym typeface="Overpass"/>
              </a:rPr>
            </a:br>
            <a:br>
              <a:rPr lang="en">
                <a:solidFill>
                  <a:srgbClr val="12191B"/>
                </a:solidFill>
                <a:latin typeface="Overpass"/>
                <a:ea typeface="Overpass"/>
                <a:cs typeface="Overpass"/>
                <a:sym typeface="Overpass"/>
              </a:rPr>
            </a:br>
            <a:endParaRPr>
              <a:solidFill>
                <a:srgbClr val="12191B"/>
              </a:solidFill>
              <a:latin typeface="Overpass"/>
              <a:ea typeface="Overpass"/>
              <a:cs typeface="Overpass"/>
              <a:sym typeface="Overpass"/>
            </a:endParaRPr>
          </a:p>
        </p:txBody>
      </p:sp>
      <p:pic>
        <p:nvPicPr>
          <p:cNvPr id="23" name="Google Shape;23;p4"/>
          <p:cNvPicPr preferRelativeResize="0"/>
          <p:nvPr/>
        </p:nvPicPr>
        <p:blipFill>
          <a:blip r:embed="rId3">
            <a:alphaModFix/>
          </a:blip>
          <a:stretch>
            <a:fillRect/>
          </a:stretch>
        </p:blipFill>
        <p:spPr>
          <a:xfrm>
            <a:off x="36675" y="114251"/>
            <a:ext cx="2852675" cy="1536075"/>
          </a:xfrm>
          <a:prstGeom prst="rect">
            <a:avLst/>
          </a:prstGeom>
          <a:noFill/>
          <a:ln>
            <a:noFill/>
          </a:ln>
        </p:spPr>
      </p:pic>
      <p:sp>
        <p:nvSpPr>
          <p:cNvPr id="24" name="Google Shape;24;p4"/>
          <p:cNvSpPr txBox="1">
            <a:spLocks noGrp="1"/>
          </p:cNvSpPr>
          <p:nvPr>
            <p:ph type="sldNum" idx="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MarDreamin' Presentation (Singular)">
  <p:cSld name="TITLE_1">
    <p:spTree>
      <p:nvGrpSpPr>
        <p:cNvPr id="1" name="Shape 34"/>
        <p:cNvGrpSpPr/>
        <p:nvPr/>
      </p:nvGrpSpPr>
      <p:grpSpPr>
        <a:xfrm>
          <a:off x="0" y="0"/>
          <a:ext cx="0" cy="0"/>
          <a:chOff x="0" y="0"/>
          <a:chExt cx="0" cy="0"/>
        </a:xfrm>
      </p:grpSpPr>
      <p:pic>
        <p:nvPicPr>
          <p:cNvPr id="35" name="Google Shape;35;p6"/>
          <p:cNvPicPr preferRelativeResize="0"/>
          <p:nvPr/>
        </p:nvPicPr>
        <p:blipFill>
          <a:blip r:embed="rId2">
            <a:alphaModFix/>
          </a:blip>
          <a:stretch>
            <a:fillRect/>
          </a:stretch>
        </p:blipFill>
        <p:spPr>
          <a:xfrm>
            <a:off x="-32600" y="-18338"/>
            <a:ext cx="9209208" cy="5180174"/>
          </a:xfrm>
          <a:prstGeom prst="rect">
            <a:avLst/>
          </a:prstGeom>
          <a:noFill/>
          <a:ln>
            <a:noFill/>
          </a:ln>
        </p:spPr>
      </p:pic>
      <p:sp>
        <p:nvSpPr>
          <p:cNvPr id="36" name="Google Shape;36;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37" name="Google Shape;37;p6"/>
          <p:cNvPicPr preferRelativeResize="0"/>
          <p:nvPr/>
        </p:nvPicPr>
        <p:blipFill>
          <a:blip r:embed="rId3">
            <a:alphaModFix/>
          </a:blip>
          <a:stretch>
            <a:fillRect/>
          </a:stretch>
        </p:blipFill>
        <p:spPr>
          <a:xfrm>
            <a:off x="0" y="88850"/>
            <a:ext cx="2768876" cy="1490925"/>
          </a:xfrm>
          <a:prstGeom prst="rect">
            <a:avLst/>
          </a:prstGeom>
          <a:noFill/>
          <a:ln>
            <a:noFill/>
          </a:ln>
        </p:spPr>
      </p:pic>
      <p:sp>
        <p:nvSpPr>
          <p:cNvPr id="38" name="Google Shape;38;p6"/>
          <p:cNvSpPr>
            <a:spLocks noGrp="1"/>
          </p:cNvSpPr>
          <p:nvPr>
            <p:ph type="pic" idx="2"/>
          </p:nvPr>
        </p:nvSpPr>
        <p:spPr>
          <a:xfrm>
            <a:off x="6345579" y="538981"/>
            <a:ext cx="2096400" cy="2096400"/>
          </a:xfrm>
          <a:prstGeom prst="ellipse">
            <a:avLst/>
          </a:prstGeom>
          <a:noFill/>
          <a:ln>
            <a:noFill/>
          </a:ln>
        </p:spPr>
      </p:sp>
      <p:sp>
        <p:nvSpPr>
          <p:cNvPr id="39" name="Google Shape;39;p6"/>
          <p:cNvSpPr txBox="1"/>
          <p:nvPr/>
        </p:nvSpPr>
        <p:spPr>
          <a:xfrm>
            <a:off x="342375" y="1724700"/>
            <a:ext cx="8598900" cy="707400"/>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None/>
            </a:pPr>
            <a:r>
              <a:rPr lang="en">
                <a:solidFill>
                  <a:srgbClr val="4A0A77"/>
                </a:solidFill>
                <a:latin typeface="Open Sans"/>
                <a:ea typeface="Open Sans"/>
                <a:cs typeface="Open Sans"/>
                <a:sym typeface="Open Sans"/>
              </a:rPr>
              <a:t>Learn. Network. Grow.</a:t>
            </a:r>
            <a:endParaRPr>
              <a:solidFill>
                <a:srgbClr val="4A0A77"/>
              </a:solidFill>
              <a:latin typeface="Open Sans"/>
              <a:ea typeface="Open Sans"/>
              <a:cs typeface="Open Sans"/>
              <a:sym typeface="Open Sans"/>
            </a:endParaRPr>
          </a:p>
          <a:p>
            <a:pPr marL="0" lvl="0" indent="0" algn="l" rtl="0">
              <a:lnSpc>
                <a:spcPct val="90000"/>
              </a:lnSpc>
              <a:spcBef>
                <a:spcPts val="0"/>
              </a:spcBef>
              <a:spcAft>
                <a:spcPts val="0"/>
              </a:spcAft>
              <a:buNone/>
            </a:pPr>
            <a:r>
              <a:rPr lang="en" sz="2200" b="1">
                <a:solidFill>
                  <a:srgbClr val="12191B"/>
                </a:solidFill>
                <a:latin typeface="Caveat"/>
                <a:ea typeface="Caveat"/>
                <a:cs typeface="Caveat"/>
                <a:sym typeface="Caveat"/>
              </a:rPr>
              <a:t>M </a:t>
            </a:r>
            <a:r>
              <a:rPr lang="en" sz="2200" b="1" strike="sngStrike">
                <a:solidFill>
                  <a:srgbClr val="12191B"/>
                </a:solidFill>
                <a:latin typeface="Overpass"/>
                <a:ea typeface="Overpass"/>
                <a:cs typeface="Overpass"/>
                <a:sym typeface="Overpass"/>
              </a:rPr>
              <a:t>P</a:t>
            </a:r>
            <a:r>
              <a:rPr lang="en" sz="2200" b="1">
                <a:solidFill>
                  <a:srgbClr val="12191B"/>
                </a:solidFill>
                <a:latin typeface="Overpass"/>
                <a:ea typeface="Overpass"/>
                <a:cs typeface="Overpass"/>
                <a:sym typeface="Overpass"/>
              </a:rPr>
              <a:t>arDreamin’ 2022</a:t>
            </a:r>
            <a:endParaRPr sz="4200" b="1">
              <a:solidFill>
                <a:srgbClr val="12191B"/>
              </a:solidFill>
              <a:latin typeface="Overpass"/>
              <a:ea typeface="Overpass"/>
              <a:cs typeface="Overpass"/>
              <a:sym typeface="Overpas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MarDreamin' Standard Title (Purple)">
  <p:cSld name="TITLE_1_1_6">
    <p:bg>
      <p:bgPr>
        <a:solidFill>
          <a:srgbClr val="4A0A77"/>
        </a:solidFill>
        <a:effectLst/>
      </p:bgPr>
    </p:bg>
    <p:spTree>
      <p:nvGrpSpPr>
        <p:cNvPr id="1" name="Shape 58"/>
        <p:cNvGrpSpPr/>
        <p:nvPr/>
      </p:nvGrpSpPr>
      <p:grpSpPr>
        <a:xfrm>
          <a:off x="0" y="0"/>
          <a:ext cx="0" cy="0"/>
          <a:chOff x="0" y="0"/>
          <a:chExt cx="0" cy="0"/>
        </a:xfrm>
      </p:grpSpPr>
      <p:sp>
        <p:nvSpPr>
          <p:cNvPr id="59" name="Google Shape;59;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
        <p:nvSpPr>
          <p:cNvPr id="60" name="Google Shape;60;p10"/>
          <p:cNvSpPr/>
          <p:nvPr/>
        </p:nvSpPr>
        <p:spPr>
          <a:xfrm rot="-5400000">
            <a:off x="4529550" y="-4535100"/>
            <a:ext cx="84900" cy="9155100"/>
          </a:xfrm>
          <a:prstGeom prst="rect">
            <a:avLst/>
          </a:prstGeom>
          <a:gradFill>
            <a:gsLst>
              <a:gs pos="0">
                <a:srgbClr val="4A0A77"/>
              </a:gs>
              <a:gs pos="100000">
                <a:srgbClr val="78C8CF"/>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1" name="Google Shape;61;p10"/>
          <p:cNvPicPr preferRelativeResize="0"/>
          <p:nvPr/>
        </p:nvPicPr>
        <p:blipFill>
          <a:blip r:embed="rId2">
            <a:alphaModFix/>
          </a:blip>
          <a:stretch>
            <a:fillRect/>
          </a:stretch>
        </p:blipFill>
        <p:spPr>
          <a:xfrm>
            <a:off x="152400" y="901600"/>
            <a:ext cx="2180027" cy="1173850"/>
          </a:xfrm>
          <a:prstGeom prst="rect">
            <a:avLst/>
          </a:prstGeom>
          <a:noFill/>
          <a:ln>
            <a:noFill/>
          </a:ln>
        </p:spPr>
      </p:pic>
      <p:sp>
        <p:nvSpPr>
          <p:cNvPr id="62" name="Google Shape;62;p10"/>
          <p:cNvSpPr txBox="1">
            <a:spLocks noGrp="1"/>
          </p:cNvSpPr>
          <p:nvPr>
            <p:ph type="title"/>
          </p:nvPr>
        </p:nvSpPr>
        <p:spPr>
          <a:xfrm>
            <a:off x="298475" y="2138375"/>
            <a:ext cx="7864500" cy="1818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FEFEFD"/>
              </a:buClr>
              <a:buSzPts val="6000"/>
              <a:buFont typeface="Overpass"/>
              <a:buNone/>
              <a:defRPr sz="6000" b="1">
                <a:solidFill>
                  <a:srgbClr val="FEFEFD"/>
                </a:solidFill>
                <a:latin typeface="Overpass"/>
                <a:ea typeface="Overpass"/>
                <a:cs typeface="Overpass"/>
                <a:sym typeface="Overpass"/>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MarDreamin' Sponsor Placeholder">
  <p:cSld name="TITLE_1_1_6_1">
    <p:bg>
      <p:bgPr>
        <a:solidFill>
          <a:srgbClr val="FEFEFD"/>
        </a:solidFill>
        <a:effectLst/>
      </p:bgPr>
    </p:bg>
    <p:spTree>
      <p:nvGrpSpPr>
        <p:cNvPr id="1" name="Shape 63"/>
        <p:cNvGrpSpPr/>
        <p:nvPr/>
      </p:nvGrpSpPr>
      <p:grpSpPr>
        <a:xfrm>
          <a:off x="0" y="0"/>
          <a:ext cx="0" cy="0"/>
          <a:chOff x="0" y="0"/>
          <a:chExt cx="0" cy="0"/>
        </a:xfrm>
      </p:grpSpPr>
      <p:sp>
        <p:nvSpPr>
          <p:cNvPr id="64" name="Google Shape;64;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
        <p:nvSpPr>
          <p:cNvPr id="65" name="Google Shape;65;p11"/>
          <p:cNvSpPr/>
          <p:nvPr/>
        </p:nvSpPr>
        <p:spPr>
          <a:xfrm rot="-5400000">
            <a:off x="4529550" y="-4535100"/>
            <a:ext cx="84900" cy="9155100"/>
          </a:xfrm>
          <a:prstGeom prst="rect">
            <a:avLst/>
          </a:prstGeom>
          <a:gradFill>
            <a:gsLst>
              <a:gs pos="0">
                <a:srgbClr val="4A0A77"/>
              </a:gs>
              <a:gs pos="100000">
                <a:srgbClr val="78C8CF"/>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6" name="Google Shape;66;p11"/>
          <p:cNvPicPr preferRelativeResize="0"/>
          <p:nvPr/>
        </p:nvPicPr>
        <p:blipFill>
          <a:blip r:embed="rId2">
            <a:alphaModFix/>
          </a:blip>
          <a:stretch>
            <a:fillRect/>
          </a:stretch>
        </p:blipFill>
        <p:spPr>
          <a:xfrm>
            <a:off x="3695025" y="110600"/>
            <a:ext cx="1071398" cy="576899"/>
          </a:xfrm>
          <a:prstGeom prst="rect">
            <a:avLst/>
          </a:prstGeom>
          <a:noFill/>
          <a:ln>
            <a:noFill/>
          </a:ln>
        </p:spPr>
      </p:pic>
      <p:pic>
        <p:nvPicPr>
          <p:cNvPr id="67" name="Google Shape;67;p11"/>
          <p:cNvPicPr preferRelativeResize="0"/>
          <p:nvPr/>
        </p:nvPicPr>
        <p:blipFill>
          <a:blip r:embed="rId3">
            <a:alphaModFix/>
          </a:blip>
          <a:stretch>
            <a:fillRect/>
          </a:stretch>
        </p:blipFill>
        <p:spPr>
          <a:xfrm>
            <a:off x="2857625" y="1507284"/>
            <a:ext cx="1071400" cy="751641"/>
          </a:xfrm>
          <a:prstGeom prst="rect">
            <a:avLst/>
          </a:prstGeom>
          <a:noFill/>
          <a:ln>
            <a:noFill/>
          </a:ln>
        </p:spPr>
      </p:pic>
      <p:pic>
        <p:nvPicPr>
          <p:cNvPr id="68" name="Google Shape;68;p11"/>
          <p:cNvPicPr preferRelativeResize="0"/>
          <p:nvPr/>
        </p:nvPicPr>
        <p:blipFill>
          <a:blip r:embed="rId4">
            <a:alphaModFix/>
          </a:blip>
          <a:stretch>
            <a:fillRect/>
          </a:stretch>
        </p:blipFill>
        <p:spPr>
          <a:xfrm>
            <a:off x="4414270" y="1576675"/>
            <a:ext cx="1872155" cy="542925"/>
          </a:xfrm>
          <a:prstGeom prst="rect">
            <a:avLst/>
          </a:prstGeom>
          <a:noFill/>
          <a:ln>
            <a:noFill/>
          </a:ln>
        </p:spPr>
      </p:pic>
      <p:pic>
        <p:nvPicPr>
          <p:cNvPr id="69" name="Google Shape;69;p11"/>
          <p:cNvPicPr preferRelativeResize="0"/>
          <p:nvPr/>
        </p:nvPicPr>
        <p:blipFill>
          <a:blip r:embed="rId5">
            <a:alphaModFix/>
          </a:blip>
          <a:stretch>
            <a:fillRect/>
          </a:stretch>
        </p:blipFill>
        <p:spPr>
          <a:xfrm>
            <a:off x="2819225" y="4537048"/>
            <a:ext cx="1310279" cy="447675"/>
          </a:xfrm>
          <a:prstGeom prst="rect">
            <a:avLst/>
          </a:prstGeom>
          <a:noFill/>
          <a:ln>
            <a:noFill/>
          </a:ln>
        </p:spPr>
      </p:pic>
      <p:pic>
        <p:nvPicPr>
          <p:cNvPr id="70" name="Google Shape;70;p11"/>
          <p:cNvPicPr preferRelativeResize="0"/>
          <p:nvPr/>
        </p:nvPicPr>
        <p:blipFill>
          <a:blip r:embed="rId6">
            <a:alphaModFix/>
          </a:blip>
          <a:stretch>
            <a:fillRect/>
          </a:stretch>
        </p:blipFill>
        <p:spPr>
          <a:xfrm>
            <a:off x="4508900" y="4537050"/>
            <a:ext cx="1193800" cy="447675"/>
          </a:xfrm>
          <a:prstGeom prst="rect">
            <a:avLst/>
          </a:prstGeom>
          <a:noFill/>
          <a:ln>
            <a:noFill/>
          </a:ln>
        </p:spPr>
      </p:pic>
      <p:pic>
        <p:nvPicPr>
          <p:cNvPr id="71" name="Google Shape;71;p11"/>
          <p:cNvPicPr preferRelativeResize="0"/>
          <p:nvPr/>
        </p:nvPicPr>
        <p:blipFill>
          <a:blip r:embed="rId7">
            <a:alphaModFix/>
          </a:blip>
          <a:stretch>
            <a:fillRect/>
          </a:stretch>
        </p:blipFill>
        <p:spPr>
          <a:xfrm>
            <a:off x="3695400" y="3622125"/>
            <a:ext cx="1249521" cy="393600"/>
          </a:xfrm>
          <a:prstGeom prst="rect">
            <a:avLst/>
          </a:prstGeom>
          <a:noFill/>
          <a:ln>
            <a:noFill/>
          </a:ln>
        </p:spPr>
      </p:pic>
      <p:pic>
        <p:nvPicPr>
          <p:cNvPr id="72" name="Google Shape;72;p11"/>
          <p:cNvPicPr preferRelativeResize="0"/>
          <p:nvPr/>
        </p:nvPicPr>
        <p:blipFill>
          <a:blip r:embed="rId8">
            <a:alphaModFix/>
          </a:blip>
          <a:stretch>
            <a:fillRect/>
          </a:stretch>
        </p:blipFill>
        <p:spPr>
          <a:xfrm>
            <a:off x="4227250" y="2655813"/>
            <a:ext cx="1905000" cy="447675"/>
          </a:xfrm>
          <a:prstGeom prst="rect">
            <a:avLst/>
          </a:prstGeom>
          <a:noFill/>
          <a:ln>
            <a:noFill/>
          </a:ln>
        </p:spPr>
      </p:pic>
      <p:pic>
        <p:nvPicPr>
          <p:cNvPr id="73" name="Google Shape;73;p11"/>
          <p:cNvPicPr preferRelativeResize="0"/>
          <p:nvPr/>
        </p:nvPicPr>
        <p:blipFill>
          <a:blip r:embed="rId9">
            <a:alphaModFix/>
          </a:blip>
          <a:stretch>
            <a:fillRect/>
          </a:stretch>
        </p:blipFill>
        <p:spPr>
          <a:xfrm>
            <a:off x="2257250" y="2686775"/>
            <a:ext cx="1905000" cy="428625"/>
          </a:xfrm>
          <a:prstGeom prst="rect">
            <a:avLst/>
          </a:prstGeom>
          <a:noFill/>
          <a:ln>
            <a:noFill/>
          </a:ln>
        </p:spPr>
      </p:pic>
      <p:cxnSp>
        <p:nvCxnSpPr>
          <p:cNvPr id="74" name="Google Shape;74;p11"/>
          <p:cNvCxnSpPr/>
          <p:nvPr/>
        </p:nvCxnSpPr>
        <p:spPr>
          <a:xfrm rot="10800000" flipH="1">
            <a:off x="1395200" y="4247800"/>
            <a:ext cx="6351300" cy="6900"/>
          </a:xfrm>
          <a:prstGeom prst="straightConnector1">
            <a:avLst/>
          </a:prstGeom>
          <a:noFill/>
          <a:ln w="9525" cap="flat" cmpd="sng">
            <a:solidFill>
              <a:srgbClr val="F3F3F3"/>
            </a:solidFill>
            <a:prstDash val="solid"/>
            <a:round/>
            <a:headEnd type="none" w="med" len="med"/>
            <a:tailEnd type="none" w="med" len="med"/>
          </a:ln>
        </p:spPr>
      </p:cxnSp>
      <p:cxnSp>
        <p:nvCxnSpPr>
          <p:cNvPr id="75" name="Google Shape;75;p11"/>
          <p:cNvCxnSpPr/>
          <p:nvPr/>
        </p:nvCxnSpPr>
        <p:spPr>
          <a:xfrm rot="10800000" flipH="1">
            <a:off x="1395200" y="3333400"/>
            <a:ext cx="6351300" cy="6900"/>
          </a:xfrm>
          <a:prstGeom prst="straightConnector1">
            <a:avLst/>
          </a:prstGeom>
          <a:noFill/>
          <a:ln w="9525" cap="flat" cmpd="sng">
            <a:solidFill>
              <a:srgbClr val="F3F3F3"/>
            </a:solidFill>
            <a:prstDash val="solid"/>
            <a:round/>
            <a:headEnd type="none" w="med" len="med"/>
            <a:tailEnd type="none" w="med" len="med"/>
          </a:ln>
        </p:spPr>
      </p:cxnSp>
      <p:cxnSp>
        <p:nvCxnSpPr>
          <p:cNvPr id="76" name="Google Shape;76;p11"/>
          <p:cNvCxnSpPr/>
          <p:nvPr/>
        </p:nvCxnSpPr>
        <p:spPr>
          <a:xfrm rot="10800000" flipH="1">
            <a:off x="1395200" y="2419000"/>
            <a:ext cx="6351300" cy="6900"/>
          </a:xfrm>
          <a:prstGeom prst="straightConnector1">
            <a:avLst/>
          </a:prstGeom>
          <a:noFill/>
          <a:ln w="9525" cap="flat" cmpd="sng">
            <a:solidFill>
              <a:srgbClr val="F3F3F3"/>
            </a:solidFill>
            <a:prstDash val="solid"/>
            <a:round/>
            <a:headEnd type="none" w="med" len="med"/>
            <a:tailEnd type="none" w="med" len="med"/>
          </a:ln>
        </p:spPr>
      </p:cxnSp>
      <p:sp>
        <p:nvSpPr>
          <p:cNvPr id="77" name="Google Shape;77;p11"/>
          <p:cNvSpPr txBox="1"/>
          <p:nvPr/>
        </p:nvSpPr>
        <p:spPr>
          <a:xfrm>
            <a:off x="180475" y="671250"/>
            <a:ext cx="8760900" cy="539400"/>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None/>
            </a:pPr>
            <a:r>
              <a:rPr lang="en" sz="3000" b="1">
                <a:solidFill>
                  <a:srgbClr val="12191B"/>
                </a:solidFill>
                <a:latin typeface="Overpass"/>
                <a:ea typeface="Overpass"/>
                <a:cs typeface="Overpass"/>
                <a:sym typeface="Overpass"/>
              </a:rPr>
              <a:t>Special Thanks To All Of Our Sponsors!</a:t>
            </a:r>
            <a:endParaRPr sz="3000" b="1">
              <a:solidFill>
                <a:srgbClr val="12191B"/>
              </a:solidFill>
              <a:latin typeface="Overpass"/>
              <a:ea typeface="Overpass"/>
              <a:cs typeface="Overpass"/>
              <a:sym typeface="Overpas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rDreamin' Title and body" type="tx">
  <p:cSld name="TITLE_AND_BODY">
    <p:spTree>
      <p:nvGrpSpPr>
        <p:cNvPr id="1" name="Shape 161"/>
        <p:cNvGrpSpPr/>
        <p:nvPr/>
      </p:nvGrpSpPr>
      <p:grpSpPr>
        <a:xfrm>
          <a:off x="0" y="0"/>
          <a:ext cx="0" cy="0"/>
          <a:chOff x="0" y="0"/>
          <a:chExt cx="0" cy="0"/>
        </a:xfrm>
      </p:grpSpPr>
      <p:sp>
        <p:nvSpPr>
          <p:cNvPr id="162" name="Google Shape;162;p19"/>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17500" rtl="0">
              <a:spcBef>
                <a:spcPts val="0"/>
              </a:spcBef>
              <a:spcAft>
                <a:spcPts val="0"/>
              </a:spcAft>
              <a:buSzPts val="1400"/>
              <a:buFont typeface="Open Sans"/>
              <a:buChar char="●"/>
              <a:defRPr sz="1400">
                <a:latin typeface="Open Sans"/>
                <a:ea typeface="Open Sans"/>
                <a:cs typeface="Open Sans"/>
                <a:sym typeface="Open Sans"/>
              </a:defRPr>
            </a:lvl1pPr>
            <a:lvl2pPr marL="914400" lvl="1" indent="-317500" rtl="0">
              <a:spcBef>
                <a:spcPts val="0"/>
              </a:spcBef>
              <a:spcAft>
                <a:spcPts val="0"/>
              </a:spcAft>
              <a:buSzPts val="1400"/>
              <a:buFont typeface="Open Sans"/>
              <a:buChar char="○"/>
              <a:defRPr>
                <a:latin typeface="Open Sans"/>
                <a:ea typeface="Open Sans"/>
                <a:cs typeface="Open Sans"/>
                <a:sym typeface="Open Sans"/>
              </a:defRPr>
            </a:lvl2pPr>
            <a:lvl3pPr marL="1371600" lvl="2" indent="-317500" rtl="0">
              <a:spcBef>
                <a:spcPts val="0"/>
              </a:spcBef>
              <a:spcAft>
                <a:spcPts val="0"/>
              </a:spcAft>
              <a:buSzPts val="1400"/>
              <a:buFont typeface="Open Sans"/>
              <a:buChar char="■"/>
              <a:defRPr>
                <a:latin typeface="Open Sans"/>
                <a:ea typeface="Open Sans"/>
                <a:cs typeface="Open Sans"/>
                <a:sym typeface="Open Sans"/>
              </a:defRPr>
            </a:lvl3pPr>
            <a:lvl4pPr marL="1828800" lvl="3" indent="-317500" rtl="0">
              <a:spcBef>
                <a:spcPts val="0"/>
              </a:spcBef>
              <a:spcAft>
                <a:spcPts val="0"/>
              </a:spcAft>
              <a:buSzPts val="1400"/>
              <a:buFont typeface="Open Sans"/>
              <a:buChar char="●"/>
              <a:defRPr>
                <a:latin typeface="Open Sans"/>
                <a:ea typeface="Open Sans"/>
                <a:cs typeface="Open Sans"/>
                <a:sym typeface="Open Sans"/>
              </a:defRPr>
            </a:lvl4pPr>
            <a:lvl5pPr marL="2286000" lvl="4" indent="-317500" rtl="0">
              <a:spcBef>
                <a:spcPts val="0"/>
              </a:spcBef>
              <a:spcAft>
                <a:spcPts val="0"/>
              </a:spcAft>
              <a:buSzPts val="1400"/>
              <a:buFont typeface="Open Sans"/>
              <a:buChar char="○"/>
              <a:defRPr>
                <a:latin typeface="Open Sans"/>
                <a:ea typeface="Open Sans"/>
                <a:cs typeface="Open Sans"/>
                <a:sym typeface="Open Sans"/>
              </a:defRPr>
            </a:lvl5pPr>
            <a:lvl6pPr marL="2743200" lvl="5" indent="-317500" rtl="0">
              <a:spcBef>
                <a:spcPts val="0"/>
              </a:spcBef>
              <a:spcAft>
                <a:spcPts val="0"/>
              </a:spcAft>
              <a:buSzPts val="1400"/>
              <a:buFont typeface="Open Sans"/>
              <a:buChar char="■"/>
              <a:defRPr>
                <a:latin typeface="Open Sans"/>
                <a:ea typeface="Open Sans"/>
                <a:cs typeface="Open Sans"/>
                <a:sym typeface="Open Sans"/>
              </a:defRPr>
            </a:lvl6pPr>
            <a:lvl7pPr marL="3200400" lvl="6" indent="-317500" rtl="0">
              <a:spcBef>
                <a:spcPts val="0"/>
              </a:spcBef>
              <a:spcAft>
                <a:spcPts val="0"/>
              </a:spcAft>
              <a:buSzPts val="1400"/>
              <a:buFont typeface="Open Sans"/>
              <a:buChar char="●"/>
              <a:defRPr>
                <a:latin typeface="Open Sans"/>
                <a:ea typeface="Open Sans"/>
                <a:cs typeface="Open Sans"/>
                <a:sym typeface="Open Sans"/>
              </a:defRPr>
            </a:lvl7pPr>
            <a:lvl8pPr marL="3657600" lvl="7" indent="-317500" rtl="0">
              <a:spcBef>
                <a:spcPts val="0"/>
              </a:spcBef>
              <a:spcAft>
                <a:spcPts val="0"/>
              </a:spcAft>
              <a:buSzPts val="1400"/>
              <a:buFont typeface="Open Sans"/>
              <a:buChar char="○"/>
              <a:defRPr>
                <a:latin typeface="Open Sans"/>
                <a:ea typeface="Open Sans"/>
                <a:cs typeface="Open Sans"/>
                <a:sym typeface="Open Sans"/>
              </a:defRPr>
            </a:lvl8pPr>
            <a:lvl9pPr marL="4114800" lvl="8" indent="-317500" rtl="0">
              <a:spcBef>
                <a:spcPts val="0"/>
              </a:spcBef>
              <a:spcAft>
                <a:spcPts val="0"/>
              </a:spcAft>
              <a:buSzPts val="1400"/>
              <a:buFont typeface="Open Sans"/>
              <a:buChar char="■"/>
              <a:defRPr>
                <a:latin typeface="Open Sans"/>
                <a:ea typeface="Open Sans"/>
                <a:cs typeface="Open Sans"/>
                <a:sym typeface="Open Sans"/>
              </a:defRPr>
            </a:lvl9pPr>
          </a:lstStyle>
          <a:p>
            <a:endParaRPr/>
          </a:p>
        </p:txBody>
      </p:sp>
      <p:sp>
        <p:nvSpPr>
          <p:cNvPr id="163" name="Google Shape;163;p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
        <p:nvSpPr>
          <p:cNvPr id="164" name="Google Shape;164;p19"/>
          <p:cNvSpPr/>
          <p:nvPr/>
        </p:nvSpPr>
        <p:spPr>
          <a:xfrm rot="-5400000">
            <a:off x="4529550" y="-4535100"/>
            <a:ext cx="84900" cy="9155100"/>
          </a:xfrm>
          <a:prstGeom prst="rect">
            <a:avLst/>
          </a:prstGeom>
          <a:gradFill>
            <a:gsLst>
              <a:gs pos="0">
                <a:srgbClr val="4A0A77"/>
              </a:gs>
              <a:gs pos="100000">
                <a:srgbClr val="78C8CF"/>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5" name="Google Shape;165;p19"/>
          <p:cNvPicPr preferRelativeResize="0"/>
          <p:nvPr/>
        </p:nvPicPr>
        <p:blipFill>
          <a:blip r:embed="rId2">
            <a:alphaModFix/>
          </a:blip>
          <a:stretch>
            <a:fillRect/>
          </a:stretch>
        </p:blipFill>
        <p:spPr>
          <a:xfrm>
            <a:off x="7398925" y="233437"/>
            <a:ext cx="1571751" cy="846325"/>
          </a:xfrm>
          <a:prstGeom prst="rect">
            <a:avLst/>
          </a:prstGeom>
          <a:noFill/>
          <a:ln>
            <a:noFill/>
          </a:ln>
        </p:spPr>
      </p:pic>
      <p:sp>
        <p:nvSpPr>
          <p:cNvPr id="166" name="Google Shape;166;p19"/>
          <p:cNvSpPr txBox="1">
            <a:spLocks noGrp="1"/>
          </p:cNvSpPr>
          <p:nvPr>
            <p:ph type="title"/>
          </p:nvPr>
        </p:nvSpPr>
        <p:spPr>
          <a:xfrm>
            <a:off x="298475" y="160725"/>
            <a:ext cx="7134900" cy="855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SzPts val="3000"/>
              <a:buFont typeface="Overpass"/>
              <a:buNone/>
              <a:defRPr sz="3000" b="1">
                <a:latin typeface="Overpass"/>
                <a:ea typeface="Overpass"/>
                <a:cs typeface="Overpass"/>
                <a:sym typeface="Overpass"/>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rDreamin' Divided Title and List (Purple)">
  <p:cSld name="SECTION_TITLE_AND_DESCRIPTION_1">
    <p:spTree>
      <p:nvGrpSpPr>
        <p:cNvPr id="1" name="Shape 187"/>
        <p:cNvGrpSpPr/>
        <p:nvPr/>
      </p:nvGrpSpPr>
      <p:grpSpPr>
        <a:xfrm>
          <a:off x="0" y="0"/>
          <a:ext cx="0" cy="0"/>
          <a:chOff x="0" y="0"/>
          <a:chExt cx="0" cy="0"/>
        </a:xfrm>
      </p:grpSpPr>
      <p:sp>
        <p:nvSpPr>
          <p:cNvPr id="188" name="Google Shape;188;p23"/>
          <p:cNvSpPr/>
          <p:nvPr/>
        </p:nvSpPr>
        <p:spPr>
          <a:xfrm>
            <a:off x="4572000" y="-125"/>
            <a:ext cx="4572000" cy="5143500"/>
          </a:xfrm>
          <a:prstGeom prst="rect">
            <a:avLst/>
          </a:prstGeom>
          <a:solidFill>
            <a:srgbClr val="7A2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189;p23"/>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SzPts val="3000"/>
              <a:buFont typeface="Overpass"/>
              <a:buChar char="●"/>
              <a:defRPr sz="3000" b="1">
                <a:latin typeface="Overpass"/>
                <a:ea typeface="Overpass"/>
                <a:cs typeface="Overpass"/>
                <a:sym typeface="Overpass"/>
              </a:defRPr>
            </a:lvl1pPr>
            <a:lvl2pPr lvl="1" algn="ctr" rtl="0">
              <a:spcBef>
                <a:spcPts val="0"/>
              </a:spcBef>
              <a:spcAft>
                <a:spcPts val="0"/>
              </a:spcAft>
              <a:buSzPts val="4200"/>
              <a:buChar char="○"/>
              <a:defRPr sz="4200"/>
            </a:lvl2pPr>
            <a:lvl3pPr lvl="2" algn="ctr" rtl="0">
              <a:spcBef>
                <a:spcPts val="0"/>
              </a:spcBef>
              <a:spcAft>
                <a:spcPts val="0"/>
              </a:spcAft>
              <a:buSzPts val="4200"/>
              <a:buChar char="■"/>
              <a:defRPr sz="4200"/>
            </a:lvl3pPr>
            <a:lvl4pPr lvl="3" algn="ctr" rtl="0">
              <a:spcBef>
                <a:spcPts val="0"/>
              </a:spcBef>
              <a:spcAft>
                <a:spcPts val="0"/>
              </a:spcAft>
              <a:buSzPts val="4200"/>
              <a:buChar char="●"/>
              <a:defRPr sz="4200"/>
            </a:lvl4pPr>
            <a:lvl5pPr lvl="4" algn="ctr" rtl="0">
              <a:spcBef>
                <a:spcPts val="0"/>
              </a:spcBef>
              <a:spcAft>
                <a:spcPts val="0"/>
              </a:spcAft>
              <a:buSzPts val="4200"/>
              <a:buChar char="○"/>
              <a:defRPr sz="4200"/>
            </a:lvl5pPr>
            <a:lvl6pPr lvl="5" algn="ctr" rtl="0">
              <a:spcBef>
                <a:spcPts val="0"/>
              </a:spcBef>
              <a:spcAft>
                <a:spcPts val="0"/>
              </a:spcAft>
              <a:buSzPts val="4200"/>
              <a:buChar char="■"/>
              <a:defRPr sz="4200"/>
            </a:lvl6pPr>
            <a:lvl7pPr lvl="6" algn="ctr" rtl="0">
              <a:spcBef>
                <a:spcPts val="0"/>
              </a:spcBef>
              <a:spcAft>
                <a:spcPts val="0"/>
              </a:spcAft>
              <a:buSzPts val="4200"/>
              <a:buChar char="●"/>
              <a:defRPr sz="4200"/>
            </a:lvl7pPr>
            <a:lvl8pPr lvl="7" algn="ctr" rtl="0">
              <a:spcBef>
                <a:spcPts val="0"/>
              </a:spcBef>
              <a:spcAft>
                <a:spcPts val="0"/>
              </a:spcAft>
              <a:buSzPts val="4200"/>
              <a:buChar char="○"/>
              <a:defRPr sz="4200"/>
            </a:lvl8pPr>
            <a:lvl9pPr lvl="8" algn="ctr" rtl="0">
              <a:spcBef>
                <a:spcPts val="0"/>
              </a:spcBef>
              <a:spcAft>
                <a:spcPts val="0"/>
              </a:spcAft>
              <a:buSzPts val="4200"/>
              <a:buChar char="■"/>
              <a:defRPr sz="4200"/>
            </a:lvl9pPr>
          </a:lstStyle>
          <a:p>
            <a:endParaRPr/>
          </a:p>
        </p:txBody>
      </p:sp>
      <p:sp>
        <p:nvSpPr>
          <p:cNvPr id="190" name="Google Shape;190;p23"/>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800"/>
              <a:buFont typeface="Open Sans"/>
              <a:buNone/>
              <a:defRPr>
                <a:latin typeface="Open Sans"/>
                <a:ea typeface="Open Sans"/>
                <a:cs typeface="Open Sans"/>
                <a:sym typeface="Open Sans"/>
              </a:defRPr>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191" name="Google Shape;191;p23"/>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17500" rtl="0">
              <a:spcBef>
                <a:spcPts val="0"/>
              </a:spcBef>
              <a:spcAft>
                <a:spcPts val="0"/>
              </a:spcAft>
              <a:buClr>
                <a:schemeClr val="lt1"/>
              </a:buClr>
              <a:buSzPts val="1400"/>
              <a:buFont typeface="Open Sans"/>
              <a:buChar char="●"/>
              <a:defRPr sz="1400">
                <a:solidFill>
                  <a:schemeClr val="lt1"/>
                </a:solidFill>
                <a:latin typeface="Open Sans"/>
                <a:ea typeface="Open Sans"/>
                <a:cs typeface="Open Sans"/>
                <a:sym typeface="Open Sans"/>
              </a:defRPr>
            </a:lvl1pPr>
            <a:lvl2pPr marL="914400" lvl="1" indent="-317500" rtl="0">
              <a:spcBef>
                <a:spcPts val="0"/>
              </a:spcBef>
              <a:spcAft>
                <a:spcPts val="0"/>
              </a:spcAft>
              <a:buClr>
                <a:schemeClr val="lt1"/>
              </a:buClr>
              <a:buSzPts val="1400"/>
              <a:buFont typeface="Open Sans"/>
              <a:buChar char="○"/>
              <a:defRPr>
                <a:solidFill>
                  <a:schemeClr val="lt1"/>
                </a:solidFill>
                <a:latin typeface="Open Sans"/>
                <a:ea typeface="Open Sans"/>
                <a:cs typeface="Open Sans"/>
                <a:sym typeface="Open Sans"/>
              </a:defRPr>
            </a:lvl2pPr>
            <a:lvl3pPr marL="1371600" lvl="2" indent="-317500" rtl="0">
              <a:spcBef>
                <a:spcPts val="0"/>
              </a:spcBef>
              <a:spcAft>
                <a:spcPts val="0"/>
              </a:spcAft>
              <a:buClr>
                <a:schemeClr val="lt1"/>
              </a:buClr>
              <a:buSzPts val="1400"/>
              <a:buFont typeface="Open Sans"/>
              <a:buChar char="■"/>
              <a:defRPr>
                <a:solidFill>
                  <a:schemeClr val="lt1"/>
                </a:solidFill>
                <a:latin typeface="Open Sans"/>
                <a:ea typeface="Open Sans"/>
                <a:cs typeface="Open Sans"/>
                <a:sym typeface="Open Sans"/>
              </a:defRPr>
            </a:lvl3pPr>
            <a:lvl4pPr marL="1828800" lvl="3" indent="-317500" rtl="0">
              <a:spcBef>
                <a:spcPts val="0"/>
              </a:spcBef>
              <a:spcAft>
                <a:spcPts val="0"/>
              </a:spcAft>
              <a:buClr>
                <a:schemeClr val="lt1"/>
              </a:buClr>
              <a:buSzPts val="1400"/>
              <a:buFont typeface="Open Sans"/>
              <a:buChar char="●"/>
              <a:defRPr>
                <a:solidFill>
                  <a:schemeClr val="lt1"/>
                </a:solidFill>
                <a:latin typeface="Open Sans"/>
                <a:ea typeface="Open Sans"/>
                <a:cs typeface="Open Sans"/>
                <a:sym typeface="Open Sans"/>
              </a:defRPr>
            </a:lvl4pPr>
            <a:lvl5pPr marL="2286000" lvl="4" indent="-317500" rtl="0">
              <a:spcBef>
                <a:spcPts val="0"/>
              </a:spcBef>
              <a:spcAft>
                <a:spcPts val="0"/>
              </a:spcAft>
              <a:buClr>
                <a:schemeClr val="lt1"/>
              </a:buClr>
              <a:buSzPts val="1400"/>
              <a:buFont typeface="Open Sans"/>
              <a:buChar char="○"/>
              <a:defRPr>
                <a:solidFill>
                  <a:schemeClr val="lt1"/>
                </a:solidFill>
                <a:latin typeface="Open Sans"/>
                <a:ea typeface="Open Sans"/>
                <a:cs typeface="Open Sans"/>
                <a:sym typeface="Open Sans"/>
              </a:defRPr>
            </a:lvl5pPr>
            <a:lvl6pPr marL="2743200" lvl="5" indent="-317500" rtl="0">
              <a:spcBef>
                <a:spcPts val="0"/>
              </a:spcBef>
              <a:spcAft>
                <a:spcPts val="0"/>
              </a:spcAft>
              <a:buClr>
                <a:schemeClr val="lt1"/>
              </a:buClr>
              <a:buSzPts val="1400"/>
              <a:buFont typeface="Open Sans"/>
              <a:buChar char="■"/>
              <a:defRPr>
                <a:solidFill>
                  <a:schemeClr val="lt1"/>
                </a:solidFill>
                <a:latin typeface="Open Sans"/>
                <a:ea typeface="Open Sans"/>
                <a:cs typeface="Open Sans"/>
                <a:sym typeface="Open Sans"/>
              </a:defRPr>
            </a:lvl6pPr>
            <a:lvl7pPr marL="3200400" lvl="6" indent="-317500" rtl="0">
              <a:spcBef>
                <a:spcPts val="0"/>
              </a:spcBef>
              <a:spcAft>
                <a:spcPts val="0"/>
              </a:spcAft>
              <a:buClr>
                <a:schemeClr val="lt1"/>
              </a:buClr>
              <a:buSzPts val="1400"/>
              <a:buFont typeface="Open Sans"/>
              <a:buChar char="●"/>
              <a:defRPr>
                <a:solidFill>
                  <a:schemeClr val="lt1"/>
                </a:solidFill>
                <a:latin typeface="Open Sans"/>
                <a:ea typeface="Open Sans"/>
                <a:cs typeface="Open Sans"/>
                <a:sym typeface="Open Sans"/>
              </a:defRPr>
            </a:lvl7pPr>
            <a:lvl8pPr marL="3657600" lvl="7" indent="-317500" rtl="0">
              <a:spcBef>
                <a:spcPts val="0"/>
              </a:spcBef>
              <a:spcAft>
                <a:spcPts val="0"/>
              </a:spcAft>
              <a:buClr>
                <a:schemeClr val="lt1"/>
              </a:buClr>
              <a:buSzPts val="1400"/>
              <a:buFont typeface="Open Sans"/>
              <a:buChar char="○"/>
              <a:defRPr>
                <a:solidFill>
                  <a:schemeClr val="lt1"/>
                </a:solidFill>
                <a:latin typeface="Open Sans"/>
                <a:ea typeface="Open Sans"/>
                <a:cs typeface="Open Sans"/>
                <a:sym typeface="Open Sans"/>
              </a:defRPr>
            </a:lvl8pPr>
            <a:lvl9pPr marL="4114800" lvl="8" indent="-317500" rtl="0">
              <a:spcBef>
                <a:spcPts val="0"/>
              </a:spcBef>
              <a:spcAft>
                <a:spcPts val="0"/>
              </a:spcAft>
              <a:buClr>
                <a:schemeClr val="lt1"/>
              </a:buClr>
              <a:buSzPts val="1400"/>
              <a:buFont typeface="Open Sans"/>
              <a:buChar char="■"/>
              <a:defRPr>
                <a:solidFill>
                  <a:schemeClr val="lt1"/>
                </a:solidFill>
                <a:latin typeface="Open Sans"/>
                <a:ea typeface="Open Sans"/>
                <a:cs typeface="Open Sans"/>
                <a:sym typeface="Open Sans"/>
              </a:defRPr>
            </a:lvl9pPr>
          </a:lstStyle>
          <a:p>
            <a:endParaRPr/>
          </a:p>
        </p:txBody>
      </p:sp>
      <p:sp>
        <p:nvSpPr>
          <p:cNvPr id="192" name="Google Shape;192;p2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B85D11-55F2-4237-9E20-4DBE3F190908}"/>
              </a:ext>
            </a:extLst>
          </p:cNvPr>
          <p:cNvGraphicFramePr>
            <a:graphicFrameLocks noChangeAspect="1"/>
          </p:cNvGraphicFramePr>
          <p:nvPr userDrawn="1">
            <p:custDataLst>
              <p:tags r:id="rId8"/>
            </p:custDataLst>
            <p:extLst>
              <p:ext uri="{D42A27DB-BD31-4B8C-83A1-F6EECF244321}">
                <p14:modId xmlns:p14="http://schemas.microsoft.com/office/powerpoint/2010/main" val="307164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2" name="Object 1" hidden="1">
                        <a:extLst>
                          <a:ext uri="{FF2B5EF4-FFF2-40B4-BE49-F238E27FC236}">
                            <a16:creationId xmlns:a16="http://schemas.microsoft.com/office/drawing/2014/main" id="{1AB85D11-55F2-4237-9E20-4DBE3F1909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rtl="0">
              <a:lnSpc>
                <a:spcPct val="115000"/>
              </a:lnSpc>
              <a:spcBef>
                <a:spcPts val="0"/>
              </a:spcBef>
              <a:spcAft>
                <a:spcPts val="0"/>
              </a:spcAft>
              <a:buClr>
                <a:schemeClr val="dk2"/>
              </a:buClr>
              <a:buSzPts val="1800"/>
              <a:buFont typeface="Open Sans"/>
              <a:buChar char="●"/>
              <a:defRPr sz="1800">
                <a:solidFill>
                  <a:schemeClr val="dk2"/>
                </a:solidFill>
                <a:latin typeface="Open Sans"/>
                <a:ea typeface="Open Sans"/>
                <a:cs typeface="Open Sans"/>
                <a:sym typeface="Open Sans"/>
              </a:defRPr>
            </a:lvl1pPr>
            <a:lvl2pPr marL="914400" lvl="1" indent="-317500" rtl="0">
              <a:lnSpc>
                <a:spcPct val="115000"/>
              </a:lnSpc>
              <a:spcBef>
                <a:spcPts val="0"/>
              </a:spcBef>
              <a:spcAft>
                <a:spcPts val="0"/>
              </a:spcAft>
              <a:buClr>
                <a:schemeClr val="dk2"/>
              </a:buClr>
              <a:buSzPts val="1400"/>
              <a:buFont typeface="Open Sans"/>
              <a:buChar char="○"/>
              <a:defRPr>
                <a:solidFill>
                  <a:schemeClr val="dk2"/>
                </a:solidFill>
                <a:latin typeface="Open Sans"/>
                <a:ea typeface="Open Sans"/>
                <a:cs typeface="Open Sans"/>
                <a:sym typeface="Open Sans"/>
              </a:defRPr>
            </a:lvl2pPr>
            <a:lvl3pPr marL="1371600" lvl="2" indent="-317500" rtl="0">
              <a:lnSpc>
                <a:spcPct val="115000"/>
              </a:lnSpc>
              <a:spcBef>
                <a:spcPts val="0"/>
              </a:spcBef>
              <a:spcAft>
                <a:spcPts val="0"/>
              </a:spcAft>
              <a:buClr>
                <a:schemeClr val="dk2"/>
              </a:buClr>
              <a:buSzPts val="1400"/>
              <a:buFont typeface="Open Sans"/>
              <a:buChar char="■"/>
              <a:defRPr>
                <a:solidFill>
                  <a:schemeClr val="dk2"/>
                </a:solidFill>
                <a:latin typeface="Open Sans"/>
                <a:ea typeface="Open Sans"/>
                <a:cs typeface="Open Sans"/>
                <a:sym typeface="Open Sans"/>
              </a:defRPr>
            </a:lvl3pPr>
            <a:lvl4pPr marL="1828800" lvl="3" indent="-317500" rtl="0">
              <a:lnSpc>
                <a:spcPct val="115000"/>
              </a:lnSpc>
              <a:spcBef>
                <a:spcPts val="0"/>
              </a:spcBef>
              <a:spcAft>
                <a:spcPts val="0"/>
              </a:spcAft>
              <a:buClr>
                <a:schemeClr val="dk2"/>
              </a:buClr>
              <a:buSzPts val="1400"/>
              <a:buFont typeface="Open Sans"/>
              <a:buChar char="●"/>
              <a:defRPr>
                <a:solidFill>
                  <a:schemeClr val="dk2"/>
                </a:solidFill>
                <a:latin typeface="Open Sans"/>
                <a:ea typeface="Open Sans"/>
                <a:cs typeface="Open Sans"/>
                <a:sym typeface="Open Sans"/>
              </a:defRPr>
            </a:lvl4pPr>
            <a:lvl5pPr marL="2286000" lvl="4" indent="-317500" rtl="0">
              <a:lnSpc>
                <a:spcPct val="115000"/>
              </a:lnSpc>
              <a:spcBef>
                <a:spcPts val="0"/>
              </a:spcBef>
              <a:spcAft>
                <a:spcPts val="0"/>
              </a:spcAft>
              <a:buClr>
                <a:schemeClr val="dk2"/>
              </a:buClr>
              <a:buSzPts val="1400"/>
              <a:buFont typeface="Open Sans"/>
              <a:buChar char="○"/>
              <a:defRPr>
                <a:solidFill>
                  <a:schemeClr val="dk2"/>
                </a:solidFill>
                <a:latin typeface="Open Sans"/>
                <a:ea typeface="Open Sans"/>
                <a:cs typeface="Open Sans"/>
                <a:sym typeface="Open Sans"/>
              </a:defRPr>
            </a:lvl5pPr>
            <a:lvl6pPr marL="2743200" lvl="5" indent="-317500" rtl="0">
              <a:lnSpc>
                <a:spcPct val="115000"/>
              </a:lnSpc>
              <a:spcBef>
                <a:spcPts val="0"/>
              </a:spcBef>
              <a:spcAft>
                <a:spcPts val="0"/>
              </a:spcAft>
              <a:buClr>
                <a:schemeClr val="dk2"/>
              </a:buClr>
              <a:buSzPts val="1400"/>
              <a:buFont typeface="Open Sans"/>
              <a:buChar char="■"/>
              <a:defRPr>
                <a:solidFill>
                  <a:schemeClr val="dk2"/>
                </a:solidFill>
                <a:latin typeface="Open Sans"/>
                <a:ea typeface="Open Sans"/>
                <a:cs typeface="Open Sans"/>
                <a:sym typeface="Open Sans"/>
              </a:defRPr>
            </a:lvl6pPr>
            <a:lvl7pPr marL="3200400" lvl="6" indent="-317500" rtl="0">
              <a:lnSpc>
                <a:spcPct val="115000"/>
              </a:lnSpc>
              <a:spcBef>
                <a:spcPts val="0"/>
              </a:spcBef>
              <a:spcAft>
                <a:spcPts val="0"/>
              </a:spcAft>
              <a:buClr>
                <a:schemeClr val="dk2"/>
              </a:buClr>
              <a:buSzPts val="1400"/>
              <a:buFont typeface="Open Sans"/>
              <a:buChar char="●"/>
              <a:defRPr>
                <a:solidFill>
                  <a:schemeClr val="dk2"/>
                </a:solidFill>
                <a:latin typeface="Open Sans"/>
                <a:ea typeface="Open Sans"/>
                <a:cs typeface="Open Sans"/>
                <a:sym typeface="Open Sans"/>
              </a:defRPr>
            </a:lvl7pPr>
            <a:lvl8pPr marL="3657600" lvl="7" indent="-317500" rtl="0">
              <a:lnSpc>
                <a:spcPct val="115000"/>
              </a:lnSpc>
              <a:spcBef>
                <a:spcPts val="0"/>
              </a:spcBef>
              <a:spcAft>
                <a:spcPts val="0"/>
              </a:spcAft>
              <a:buClr>
                <a:schemeClr val="dk2"/>
              </a:buClr>
              <a:buSzPts val="1400"/>
              <a:buFont typeface="Open Sans"/>
              <a:buChar char="○"/>
              <a:defRPr>
                <a:solidFill>
                  <a:schemeClr val="dk2"/>
                </a:solidFill>
                <a:latin typeface="Open Sans"/>
                <a:ea typeface="Open Sans"/>
                <a:cs typeface="Open Sans"/>
                <a:sym typeface="Open Sans"/>
              </a:defRPr>
            </a:lvl8pPr>
            <a:lvl9pPr marL="4114800" lvl="8" indent="-317500" rtl="0">
              <a:lnSpc>
                <a:spcPct val="115000"/>
              </a:lnSpc>
              <a:spcBef>
                <a:spcPts val="0"/>
              </a:spcBef>
              <a:spcAft>
                <a:spcPts val="0"/>
              </a:spcAft>
              <a:buClr>
                <a:schemeClr val="dk2"/>
              </a:buClr>
              <a:buSzPts val="1400"/>
              <a:buFont typeface="Open Sans"/>
              <a:buChar char="■"/>
              <a:defRPr>
                <a:solidFill>
                  <a:schemeClr val="dk2"/>
                </a:solidFill>
                <a:latin typeface="Open Sans"/>
                <a:ea typeface="Open Sans"/>
                <a:cs typeface="Open Sans"/>
                <a:sym typeface="Open Sans"/>
              </a:defRPr>
            </a:lvl9pPr>
          </a:lstStyle>
          <a:p>
            <a:endParaRPr/>
          </a:p>
        </p:txBody>
      </p:sp>
      <p:sp>
        <p:nvSpPr>
          <p:cNvPr id="7" name="Google Shape;7;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0" r:id="rId1"/>
    <p:sldLayoutId id="2147483652" r:id="rId2"/>
    <p:sldLayoutId id="2147483656" r:id="rId3"/>
    <p:sldLayoutId id="2147483657" r:id="rId4"/>
    <p:sldLayoutId id="2147483665" r:id="rId5"/>
    <p:sldLayoutId id="2147483669"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10.xml"/><Relationship Id="rId7" Type="http://schemas.openxmlformats.org/officeDocument/2006/relationships/image" Target="../media/image30.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1.xml"/><Relationship Id="rId7" Type="http://schemas.openxmlformats.org/officeDocument/2006/relationships/image" Target="../media/image33.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41.png"/><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5.xml"/><Relationship Id="rId7" Type="http://schemas.openxmlformats.org/officeDocument/2006/relationships/image" Target="../media/image43.pn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6.xml"/><Relationship Id="rId7" Type="http://schemas.openxmlformats.org/officeDocument/2006/relationships/image" Target="../media/image46.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7.xml"/><Relationship Id="rId7" Type="http://schemas.openxmlformats.org/officeDocument/2006/relationships/image" Target="../media/image49.pn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8.xml"/><Relationship Id="rId7" Type="http://schemas.openxmlformats.org/officeDocument/2006/relationships/image" Target="../media/image53.png"/><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19.xml"/><Relationship Id="rId7" Type="http://schemas.openxmlformats.org/officeDocument/2006/relationships/image" Target="../media/image56.png"/><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notesSlide" Target="../notesSlides/notesSlide2.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emf"/><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oleObject" Target="../embeddings/oleObject2.bin"/><Relationship Id="rId9" Type="http://schemas.openxmlformats.org/officeDocument/2006/relationships/image" Target="../media/image16.png"/><Relationship Id="rId14" Type="http://schemas.openxmlformats.org/officeDocument/2006/relationships/image" Target="../media/image21.png"/></Relationships>
</file>

<file path=ppt/slides/_rels/slide2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20.xml"/><Relationship Id="rId7" Type="http://schemas.openxmlformats.org/officeDocument/2006/relationships/image" Target="../media/image59.pn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61.png"/></Relationships>
</file>

<file path=ppt/slides/_rels/slide2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21.xml"/><Relationship Id="rId7" Type="http://schemas.openxmlformats.org/officeDocument/2006/relationships/image" Target="../media/image63.pn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62.png"/><Relationship Id="rId5" Type="http://schemas.openxmlformats.org/officeDocument/2006/relationships/image" Target="../media/image1.emf"/><Relationship Id="rId10" Type="http://schemas.openxmlformats.org/officeDocument/2006/relationships/image" Target="../media/image65.png"/><Relationship Id="rId4" Type="http://schemas.openxmlformats.org/officeDocument/2006/relationships/oleObject" Target="../embeddings/oleObject21.bin"/><Relationship Id="rId9" Type="http://schemas.openxmlformats.org/officeDocument/2006/relationships/image" Target="../media/image61.png"/></Relationships>
</file>

<file path=ppt/slides/_rels/slide2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22.xml"/><Relationship Id="rId7" Type="http://schemas.openxmlformats.org/officeDocument/2006/relationships/image" Target="../media/image67.pn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66.png"/><Relationship Id="rId5" Type="http://schemas.openxmlformats.org/officeDocument/2006/relationships/image" Target="../media/image1.emf"/><Relationship Id="rId10" Type="http://schemas.openxmlformats.org/officeDocument/2006/relationships/image" Target="../media/image70.png"/><Relationship Id="rId4" Type="http://schemas.openxmlformats.org/officeDocument/2006/relationships/oleObject" Target="../embeddings/oleObject22.bin"/><Relationship Id="rId9" Type="http://schemas.openxmlformats.org/officeDocument/2006/relationships/image" Target="../media/image6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6.xml"/><Relationship Id="rId7" Type="http://schemas.openxmlformats.org/officeDocument/2006/relationships/image" Target="../media/image27.pn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0.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pic>
        <p:nvPicPr>
          <p:cNvPr id="3" name="Picture Placeholder 2" descr="A person wearing glasses&#10;&#10;Description automatically generated with low confidence">
            <a:extLst>
              <a:ext uri="{FF2B5EF4-FFF2-40B4-BE49-F238E27FC236}">
                <a16:creationId xmlns:a16="http://schemas.microsoft.com/office/drawing/2014/main" id="{8B94A867-BC0C-481F-8690-EFEBE672A2CD}"/>
              </a:ext>
            </a:extLst>
          </p:cNvPr>
          <p:cNvPicPr>
            <a:picLocks noGrp="1" noChangeAspect="1"/>
          </p:cNvPicPr>
          <p:nvPr>
            <p:ph type="pic" idx="2"/>
          </p:nvPr>
        </p:nvPicPr>
        <p:blipFill>
          <a:blip r:embed="rId3"/>
          <a:srcRect t="5889" b="5889"/>
          <a:stretch>
            <a:fillRect/>
          </a:stretch>
        </p:blipFill>
        <p:spPr>
          <a:xfrm>
            <a:off x="6345238" y="539750"/>
            <a:ext cx="2097087" cy="2095500"/>
          </a:xfrm>
          <a:prstGeom prst="ellipse">
            <a:avLst/>
          </a:prstGeom>
        </p:spPr>
      </p:pic>
      <p:sp>
        <p:nvSpPr>
          <p:cNvPr id="285" name="Google Shape;285;p41"/>
          <p:cNvSpPr txBox="1"/>
          <p:nvPr/>
        </p:nvSpPr>
        <p:spPr>
          <a:xfrm>
            <a:off x="342374" y="2704775"/>
            <a:ext cx="6223795" cy="441600"/>
          </a:xfrm>
          <a:prstGeom prst="rect">
            <a:avLst/>
          </a:prstGeom>
          <a:noFill/>
          <a:ln>
            <a:noFill/>
          </a:ln>
        </p:spPr>
        <p:txBody>
          <a:bodyPr spcFirstLastPara="1" wrap="square" lIns="91425" tIns="45700" rIns="91425" bIns="45700" anchor="t" anchorCtr="0">
            <a:noAutofit/>
          </a:bodyPr>
          <a:lstStyle/>
          <a:p>
            <a:pPr algn="l"/>
            <a:r>
              <a:rPr lang="en-US" sz="4000" b="1" i="0" dirty="0">
                <a:solidFill>
                  <a:srgbClr val="12191B"/>
                </a:solidFill>
                <a:effectLst/>
                <a:latin typeface="interstate-condensed"/>
              </a:rPr>
              <a:t>Journey Builder: Design And Build Custom Journeys</a:t>
            </a:r>
          </a:p>
        </p:txBody>
      </p:sp>
      <p:sp>
        <p:nvSpPr>
          <p:cNvPr id="286" name="Google Shape;286;p41"/>
          <p:cNvSpPr txBox="1"/>
          <p:nvPr/>
        </p:nvSpPr>
        <p:spPr>
          <a:xfrm>
            <a:off x="342375" y="4177325"/>
            <a:ext cx="3926400" cy="707400"/>
          </a:xfrm>
          <a:prstGeom prst="rect">
            <a:avLst/>
          </a:prstGeom>
          <a:noFill/>
          <a:ln>
            <a:noFill/>
          </a:ln>
        </p:spPr>
        <p:txBody>
          <a:bodyPr spcFirstLastPara="1" wrap="square" lIns="91425" tIns="45700" rIns="91425" bIns="45700" anchor="t" anchorCtr="0">
            <a:noAutofit/>
          </a:bodyPr>
          <a:lstStyle/>
          <a:p>
            <a:pPr marL="0" lvl="0" indent="0" algn="l" rtl="0">
              <a:lnSpc>
                <a:spcPct val="150000"/>
              </a:lnSpc>
              <a:spcBef>
                <a:spcPts val="0"/>
              </a:spcBef>
              <a:spcAft>
                <a:spcPts val="0"/>
              </a:spcAft>
              <a:buNone/>
            </a:pPr>
            <a:r>
              <a:rPr lang="en" sz="1800" b="1" dirty="0">
                <a:solidFill>
                  <a:srgbClr val="12191B"/>
                </a:solidFill>
                <a:latin typeface="Open Sans"/>
                <a:ea typeface="Open Sans"/>
                <a:cs typeface="Open Sans"/>
                <a:sym typeface="Open Sans"/>
              </a:rPr>
              <a:t>Tim Ziter</a:t>
            </a:r>
            <a:br>
              <a:rPr lang="en" dirty="0">
                <a:solidFill>
                  <a:srgbClr val="12191B"/>
                </a:solidFill>
                <a:latin typeface="Open Sans"/>
                <a:ea typeface="Open Sans"/>
                <a:cs typeface="Open Sans"/>
                <a:sym typeface="Open Sans"/>
              </a:rPr>
            </a:br>
            <a:r>
              <a:rPr lang="en" dirty="0">
                <a:solidFill>
                  <a:srgbClr val="12191B"/>
                </a:solidFill>
                <a:latin typeface="Open Sans"/>
                <a:ea typeface="Open Sans"/>
                <a:cs typeface="Open Sans"/>
                <a:sym typeface="Open Sans"/>
              </a:rPr>
              <a:t>Senior Consultant, Cervello</a:t>
            </a:r>
            <a:endParaRPr dirty="0">
              <a:solidFill>
                <a:srgbClr val="12191B"/>
              </a:solidFill>
              <a:latin typeface="Open Sans"/>
              <a:ea typeface="Open Sans"/>
              <a:cs typeface="Open Sans"/>
              <a:sym typeface="Open San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extLst>
              <p:ext uri="{D42A27DB-BD31-4B8C-83A1-F6EECF244321}">
                <p14:modId xmlns:p14="http://schemas.microsoft.com/office/powerpoint/2010/main" val="2938580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Google Shape;404;p52">
            <a:extLst>
              <a:ext uri="{FF2B5EF4-FFF2-40B4-BE49-F238E27FC236}">
                <a16:creationId xmlns:a16="http://schemas.microsoft.com/office/drawing/2014/main" id="{8FE7656D-A516-405A-8846-5FEFF41CD045}"/>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Lead &amp; Account</a:t>
            </a:r>
          </a:p>
          <a:p>
            <a:pPr marL="1257300" lvl="2" indent="-342900" algn="l">
              <a:buFont typeface="Arial" panose="020B0604020202020204" pitchFamily="34" charset="0"/>
              <a:buChar char="•"/>
            </a:pPr>
            <a:r>
              <a:rPr lang="en-US" sz="1800" dirty="0">
                <a:solidFill>
                  <a:srgbClr val="222222"/>
                </a:solidFill>
                <a:ea typeface="Helvetica Neue Light"/>
              </a:rPr>
              <a:t>OOB fields/data</a:t>
            </a:r>
          </a:p>
          <a:p>
            <a:pPr marL="1257300" lvl="2" indent="-342900" algn="l">
              <a:buFont typeface="Arial" panose="020B0604020202020204" pitchFamily="34" charset="0"/>
              <a:buChar char="•"/>
            </a:pPr>
            <a:r>
              <a:rPr lang="en-US" sz="1800" dirty="0" err="1">
                <a:solidFill>
                  <a:srgbClr val="222222"/>
                </a:solidFill>
                <a:ea typeface="Helvetica Neue Light"/>
              </a:rPr>
              <a:t>SalesWings</a:t>
            </a:r>
            <a:r>
              <a:rPr lang="en-US" sz="1800" dirty="0">
                <a:solidFill>
                  <a:srgbClr val="222222"/>
                </a:solidFill>
                <a:ea typeface="Helvetica Neue Light"/>
              </a:rPr>
              <a:t> lead scoring</a:t>
            </a:r>
          </a:p>
          <a:p>
            <a:pPr marL="1257300" lvl="2" indent="-342900" algn="l">
              <a:buFont typeface="Arial" panose="020B0604020202020204" pitchFamily="34" charset="0"/>
              <a:buChar char="•"/>
            </a:pPr>
            <a:r>
              <a:rPr lang="en-US" sz="1800" dirty="0" err="1">
                <a:solidFill>
                  <a:srgbClr val="222222"/>
                </a:solidFill>
                <a:ea typeface="Helvetica Neue Light"/>
              </a:rPr>
              <a:t>Demandbase</a:t>
            </a:r>
            <a:r>
              <a:rPr lang="en-US" sz="1800" dirty="0">
                <a:solidFill>
                  <a:srgbClr val="222222"/>
                </a:solidFill>
                <a:ea typeface="Helvetica Neue Light"/>
              </a:rPr>
              <a:t> ABM scoring</a:t>
            </a:r>
          </a:p>
          <a:p>
            <a:pPr marL="800100" lvl="1" indent="-342900">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Setup</a:t>
            </a:r>
          </a:p>
          <a:p>
            <a:pPr marL="1257300" lvl="2" indent="-342900" algn="l">
              <a:buFont typeface="Arial" panose="020B0604020202020204" pitchFamily="34" charset="0"/>
              <a:buChar char="•"/>
            </a:pPr>
            <a:r>
              <a:rPr lang="en-US" sz="1800" dirty="0">
                <a:solidFill>
                  <a:srgbClr val="222222"/>
                </a:solidFill>
                <a:ea typeface="Helvetica Neue Light"/>
              </a:rPr>
              <a:t>Required fields</a:t>
            </a:r>
          </a:p>
          <a:p>
            <a:pPr marL="1257300" lvl="2" indent="-342900" algn="l">
              <a:buFont typeface="Arial" panose="020B0604020202020204" pitchFamily="34" charset="0"/>
              <a:buChar char="•"/>
            </a:pPr>
            <a:r>
              <a:rPr lang="en-US" sz="1800" dirty="0">
                <a:solidFill>
                  <a:srgbClr val="222222"/>
                </a:solidFill>
                <a:ea typeface="Helvetica Neue Light"/>
              </a:rPr>
              <a:t>Field names &amp; types</a:t>
            </a: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Incomplete leads</a:t>
            </a:r>
          </a:p>
          <a:p>
            <a:pPr marL="1257300" lvl="2" indent="-342900" algn="l">
              <a:buFont typeface="Arial" panose="020B0604020202020204" pitchFamily="34" charset="0"/>
              <a:buChar char="•"/>
            </a:pPr>
            <a:r>
              <a:rPr lang="en-US" sz="1800" dirty="0">
                <a:solidFill>
                  <a:srgbClr val="222222"/>
                </a:solidFill>
                <a:ea typeface="Helvetica Neue Light"/>
              </a:rPr>
              <a:t>Lookup, formula fields</a:t>
            </a:r>
          </a:p>
        </p:txBody>
      </p:sp>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Salesforce CRM</a:t>
            </a:r>
            <a:endParaRPr dirty="0"/>
          </a:p>
        </p:txBody>
      </p:sp>
      <p:pic>
        <p:nvPicPr>
          <p:cNvPr id="8" name="Picture 7">
            <a:extLst>
              <a:ext uri="{FF2B5EF4-FFF2-40B4-BE49-F238E27FC236}">
                <a16:creationId xmlns:a16="http://schemas.microsoft.com/office/drawing/2014/main" id="{4BD3C5B2-DC43-413E-8556-7B4396B02AE0}"/>
              </a:ext>
            </a:extLst>
          </p:cNvPr>
          <p:cNvPicPr>
            <a:picLocks noChangeAspect="1"/>
          </p:cNvPicPr>
          <p:nvPr/>
        </p:nvPicPr>
        <p:blipFill>
          <a:blip r:embed="rId6"/>
          <a:stretch>
            <a:fillRect/>
          </a:stretch>
        </p:blipFill>
        <p:spPr>
          <a:xfrm>
            <a:off x="4824538" y="485783"/>
            <a:ext cx="2923590" cy="1681378"/>
          </a:xfrm>
          <a:prstGeom prst="rect">
            <a:avLst/>
          </a:prstGeom>
          <a:ln>
            <a:solidFill>
              <a:schemeClr val="accent1"/>
            </a:solidFill>
          </a:ln>
        </p:spPr>
      </p:pic>
      <p:pic>
        <p:nvPicPr>
          <p:cNvPr id="9" name="Picture 8">
            <a:extLst>
              <a:ext uri="{FF2B5EF4-FFF2-40B4-BE49-F238E27FC236}">
                <a16:creationId xmlns:a16="http://schemas.microsoft.com/office/drawing/2014/main" id="{0B304148-B193-4246-924F-80C56F147819}"/>
              </a:ext>
            </a:extLst>
          </p:cNvPr>
          <p:cNvPicPr>
            <a:picLocks noChangeAspect="1"/>
          </p:cNvPicPr>
          <p:nvPr/>
        </p:nvPicPr>
        <p:blipFill>
          <a:blip r:embed="rId7"/>
          <a:stretch>
            <a:fillRect/>
          </a:stretch>
        </p:blipFill>
        <p:spPr>
          <a:xfrm>
            <a:off x="4824538" y="2627718"/>
            <a:ext cx="3175498" cy="987595"/>
          </a:xfrm>
          <a:prstGeom prst="rect">
            <a:avLst/>
          </a:prstGeom>
          <a:ln>
            <a:solidFill>
              <a:schemeClr val="accent1"/>
            </a:solidFill>
          </a:ln>
        </p:spPr>
      </p:pic>
      <p:pic>
        <p:nvPicPr>
          <p:cNvPr id="10" name="Picture 9">
            <a:extLst>
              <a:ext uri="{FF2B5EF4-FFF2-40B4-BE49-F238E27FC236}">
                <a16:creationId xmlns:a16="http://schemas.microsoft.com/office/drawing/2014/main" id="{1EA02115-EFF4-4023-B1A3-714F9F3E96F6}"/>
              </a:ext>
            </a:extLst>
          </p:cNvPr>
          <p:cNvPicPr>
            <a:picLocks noChangeAspect="1"/>
          </p:cNvPicPr>
          <p:nvPr/>
        </p:nvPicPr>
        <p:blipFill>
          <a:blip r:embed="rId8"/>
          <a:stretch>
            <a:fillRect/>
          </a:stretch>
        </p:blipFill>
        <p:spPr>
          <a:xfrm>
            <a:off x="4824538" y="3982372"/>
            <a:ext cx="3307508" cy="986694"/>
          </a:xfrm>
          <a:prstGeom prst="rect">
            <a:avLst/>
          </a:prstGeom>
          <a:ln>
            <a:solidFill>
              <a:schemeClr val="accent1"/>
            </a:solidFill>
          </a:ln>
        </p:spPr>
      </p:pic>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Leads &amp; Accounts</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230581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Setup – Required Fields</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3696832"/>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Field Names &amp; Data Type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extLst>
              <p:ext uri="{D42A27DB-BD31-4B8C-83A1-F6EECF244321}">
                <p14:modId xmlns:p14="http://schemas.microsoft.com/office/powerpoint/2010/main" val="765486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Automation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Query Setup</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230581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Query Build</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3696832"/>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Validate Data</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fontScale="850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dirty="0">
                <a:solidFill>
                  <a:srgbClr val="222222"/>
                </a:solidFill>
                <a:ea typeface="Helvetica Neue Light"/>
              </a:rPr>
              <a:t>Query – three main components</a:t>
            </a:r>
          </a:p>
          <a:p>
            <a:pPr marL="1257300" lvl="2" indent="-342900" algn="l">
              <a:buFont typeface="Arial" panose="020B0604020202020204" pitchFamily="34" charset="0"/>
              <a:buChar char="•"/>
            </a:pPr>
            <a:r>
              <a:rPr lang="en-US" dirty="0">
                <a:solidFill>
                  <a:srgbClr val="222222"/>
                </a:solidFill>
                <a:ea typeface="Helvetica Neue Light"/>
              </a:rPr>
              <a:t>SELECT</a:t>
            </a:r>
          </a:p>
          <a:p>
            <a:pPr marL="1714500" lvl="3" indent="-342900" algn="l">
              <a:buFont typeface="Arial" panose="020B0604020202020204" pitchFamily="34" charset="0"/>
              <a:buChar char="•"/>
            </a:pPr>
            <a:r>
              <a:rPr lang="en-US" dirty="0">
                <a:solidFill>
                  <a:srgbClr val="222222"/>
                </a:solidFill>
                <a:ea typeface="Helvetica Neue Light"/>
              </a:rPr>
              <a:t>Variable, fixed, case</a:t>
            </a:r>
          </a:p>
          <a:p>
            <a:pPr marL="1257300" lvl="2" indent="-342900" algn="l">
              <a:buFont typeface="Arial" panose="020B0604020202020204" pitchFamily="34" charset="0"/>
              <a:buChar char="•"/>
            </a:pPr>
            <a:r>
              <a:rPr lang="en-US" dirty="0">
                <a:solidFill>
                  <a:srgbClr val="222222"/>
                </a:solidFill>
                <a:ea typeface="Helvetica Neue Light"/>
              </a:rPr>
              <a:t>FROM</a:t>
            </a:r>
          </a:p>
          <a:p>
            <a:pPr marL="1714500" lvl="3" indent="-342900" algn="l">
              <a:buFont typeface="Arial" panose="020B0604020202020204" pitchFamily="34" charset="0"/>
              <a:buChar char="•"/>
            </a:pPr>
            <a:r>
              <a:rPr lang="en-US" dirty="0">
                <a:solidFill>
                  <a:srgbClr val="222222"/>
                </a:solidFill>
                <a:ea typeface="Helvetica Neue Light"/>
              </a:rPr>
              <a:t>JOIN logic</a:t>
            </a:r>
          </a:p>
          <a:p>
            <a:pPr marL="1714500" lvl="3" indent="-342900" algn="l">
              <a:buFont typeface="Arial" panose="020B0604020202020204" pitchFamily="34" charset="0"/>
              <a:buChar char="•"/>
            </a:pPr>
            <a:r>
              <a:rPr lang="en-US" dirty="0">
                <a:solidFill>
                  <a:srgbClr val="222222"/>
                </a:solidFill>
                <a:ea typeface="Helvetica Neue Light"/>
              </a:rPr>
              <a:t>Match</a:t>
            </a:r>
          </a:p>
          <a:p>
            <a:pPr marL="1257300" lvl="2" indent="-342900" algn="l">
              <a:buFont typeface="Arial" panose="020B0604020202020204" pitchFamily="34" charset="0"/>
              <a:buChar char="•"/>
            </a:pPr>
            <a:r>
              <a:rPr lang="en-US" dirty="0">
                <a:solidFill>
                  <a:srgbClr val="222222"/>
                </a:solidFill>
                <a:ea typeface="Helvetica Neue Light"/>
              </a:rPr>
              <a:t>WHERE</a:t>
            </a:r>
          </a:p>
          <a:p>
            <a:pPr marL="457200" lvl="1" indent="0" algn="l"/>
            <a:r>
              <a:rPr lang="en-US" dirty="0">
                <a:solidFill>
                  <a:srgbClr val="222222"/>
                </a:solidFill>
                <a:ea typeface="Helvetica Neue Light"/>
              </a:rPr>
              <a:t>Data Extension</a:t>
            </a:r>
          </a:p>
          <a:p>
            <a:pPr marL="457200" lvl="1" indent="0" algn="l"/>
            <a:r>
              <a:rPr lang="en-US" dirty="0">
                <a:solidFill>
                  <a:srgbClr val="222222"/>
                </a:solidFill>
                <a:ea typeface="Helvetica Neue Light"/>
              </a:rPr>
              <a:t>Data Action</a:t>
            </a:r>
          </a:p>
          <a:p>
            <a:pPr marL="800100" lvl="1" indent="-342900">
              <a:buFont typeface="Arial" panose="020B0604020202020204" pitchFamily="34" charset="0"/>
              <a:buChar char="•"/>
            </a:pPr>
            <a:endParaRPr lang="en-US" sz="2000" dirty="0">
              <a:solidFill>
                <a:srgbClr val="222222"/>
              </a:solidFill>
              <a:ea typeface="Helvetica Neue Light"/>
            </a:endParaRPr>
          </a:p>
          <a:p>
            <a:pPr marL="1257300" lvl="2" indent="-342900" algn="l">
              <a:buFont typeface="Arial" panose="020B0604020202020204" pitchFamily="34" charset="0"/>
              <a:buChar char="•"/>
            </a:pPr>
            <a:endParaRPr lang="en-US" sz="2000" dirty="0">
              <a:solidFill>
                <a:srgbClr val="222222"/>
              </a:solidFill>
              <a:ea typeface="Helvetica Neue Light"/>
            </a:endParaRPr>
          </a:p>
          <a:p>
            <a:pPr marL="457200" lvl="1" indent="0" algn="l"/>
            <a:r>
              <a:rPr lang="en-US" sz="2000" dirty="0">
                <a:solidFill>
                  <a:srgbClr val="222222"/>
                </a:solidFill>
                <a:ea typeface="Helvetica Neue Light"/>
              </a:rPr>
              <a:t>Watchouts:</a:t>
            </a:r>
          </a:p>
          <a:p>
            <a:pPr marL="1257300" lvl="2" indent="-342900" algn="l">
              <a:buFont typeface="Arial" panose="020B0604020202020204" pitchFamily="34" charset="0"/>
              <a:buChar char="•"/>
            </a:pPr>
            <a:r>
              <a:rPr lang="en-US" sz="2000" dirty="0">
                <a:solidFill>
                  <a:srgbClr val="222222"/>
                </a:solidFill>
                <a:ea typeface="Helvetica Neue Light"/>
              </a:rPr>
              <a:t>Formatting to help readability</a:t>
            </a:r>
          </a:p>
          <a:p>
            <a:pPr marL="1257300" lvl="2" indent="-342900" algn="l">
              <a:buFont typeface="Arial" panose="020B0604020202020204" pitchFamily="34" charset="0"/>
              <a:buChar char="•"/>
            </a:pPr>
            <a:r>
              <a:rPr lang="en-US" sz="2000" dirty="0">
                <a:solidFill>
                  <a:srgbClr val="222222"/>
                </a:solidFill>
                <a:ea typeface="Helvetica Neue Light"/>
              </a:rPr>
              <a:t>Naming pitfalls</a:t>
            </a:r>
          </a:p>
          <a:p>
            <a:pPr marL="1257300" lvl="2" indent="-342900" algn="l">
              <a:buFont typeface="Arial" panose="020B0604020202020204" pitchFamily="34" charset="0"/>
              <a:buChar char="•"/>
            </a:pPr>
            <a:r>
              <a:rPr lang="en-US" sz="2000" dirty="0">
                <a:solidFill>
                  <a:srgbClr val="222222"/>
                </a:solidFill>
                <a:ea typeface="Helvetica Neue Light"/>
              </a:rPr>
              <a:t>Nested AND/OR</a:t>
            </a:r>
          </a:p>
        </p:txBody>
      </p:sp>
      <p:pic>
        <p:nvPicPr>
          <p:cNvPr id="15" name="Picture 14">
            <a:extLst>
              <a:ext uri="{FF2B5EF4-FFF2-40B4-BE49-F238E27FC236}">
                <a16:creationId xmlns:a16="http://schemas.microsoft.com/office/drawing/2014/main" id="{67E10853-BAB8-49D8-AF34-F4C87A240AD5}"/>
              </a:ext>
            </a:extLst>
          </p:cNvPr>
          <p:cNvPicPr>
            <a:picLocks noChangeAspect="1"/>
          </p:cNvPicPr>
          <p:nvPr/>
        </p:nvPicPr>
        <p:blipFill>
          <a:blip r:embed="rId6"/>
          <a:stretch>
            <a:fillRect/>
          </a:stretch>
        </p:blipFill>
        <p:spPr>
          <a:xfrm>
            <a:off x="4824539" y="519834"/>
            <a:ext cx="3466319" cy="1735438"/>
          </a:xfrm>
          <a:prstGeom prst="rect">
            <a:avLst/>
          </a:prstGeom>
          <a:ln>
            <a:solidFill>
              <a:schemeClr val="accent1"/>
            </a:solidFill>
          </a:ln>
        </p:spPr>
      </p:pic>
      <p:pic>
        <p:nvPicPr>
          <p:cNvPr id="16" name="Picture 15">
            <a:extLst>
              <a:ext uri="{FF2B5EF4-FFF2-40B4-BE49-F238E27FC236}">
                <a16:creationId xmlns:a16="http://schemas.microsoft.com/office/drawing/2014/main" id="{041E3EAB-0846-4AEF-8D16-2371AB4EECD6}"/>
              </a:ext>
            </a:extLst>
          </p:cNvPr>
          <p:cNvPicPr>
            <a:picLocks noChangeAspect="1"/>
          </p:cNvPicPr>
          <p:nvPr/>
        </p:nvPicPr>
        <p:blipFill>
          <a:blip r:embed="rId7"/>
          <a:stretch>
            <a:fillRect/>
          </a:stretch>
        </p:blipFill>
        <p:spPr>
          <a:xfrm>
            <a:off x="4824539" y="2632053"/>
            <a:ext cx="1938002" cy="1029619"/>
          </a:xfrm>
          <a:prstGeom prst="rect">
            <a:avLst/>
          </a:prstGeom>
          <a:ln>
            <a:solidFill>
              <a:schemeClr val="accent1"/>
            </a:solidFill>
          </a:ln>
        </p:spPr>
      </p:pic>
      <p:pic>
        <p:nvPicPr>
          <p:cNvPr id="17" name="Picture 16">
            <a:extLst>
              <a:ext uri="{FF2B5EF4-FFF2-40B4-BE49-F238E27FC236}">
                <a16:creationId xmlns:a16="http://schemas.microsoft.com/office/drawing/2014/main" id="{35E41242-3FBE-478D-B18D-4D6A49C3DCA0}"/>
              </a:ext>
            </a:extLst>
          </p:cNvPr>
          <p:cNvPicPr>
            <a:picLocks noChangeAspect="1"/>
          </p:cNvPicPr>
          <p:nvPr/>
        </p:nvPicPr>
        <p:blipFill>
          <a:blip r:embed="rId8"/>
          <a:stretch>
            <a:fillRect/>
          </a:stretch>
        </p:blipFill>
        <p:spPr>
          <a:xfrm>
            <a:off x="4824539" y="3981754"/>
            <a:ext cx="3466319" cy="697597"/>
          </a:xfrm>
          <a:prstGeom prst="rect">
            <a:avLst/>
          </a:prstGeom>
          <a:ln>
            <a:solidFill>
              <a:schemeClr val="accent1"/>
            </a:solidFill>
          </a:ln>
        </p:spPr>
      </p:pic>
    </p:spTree>
    <p:extLst>
      <p:ext uri="{BB962C8B-B14F-4D97-AF65-F5344CB8AC3E}">
        <p14:creationId xmlns:p14="http://schemas.microsoft.com/office/powerpoint/2010/main" val="13429721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Automation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DE Setup</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230581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DE Fields</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lvl="1" algn="l"/>
            <a:r>
              <a:rPr lang="en-US" sz="1800" dirty="0">
                <a:solidFill>
                  <a:srgbClr val="222222"/>
                </a:solidFill>
                <a:ea typeface="Helvetica Neue Light"/>
              </a:rPr>
              <a:t>Data Extension Setup</a:t>
            </a:r>
          </a:p>
          <a:p>
            <a:pPr marL="1257300" lvl="2" indent="-342900" algn="l">
              <a:buFont typeface="Arial" panose="020B0604020202020204" pitchFamily="34" charset="0"/>
              <a:buChar char="•"/>
            </a:pPr>
            <a:r>
              <a:rPr lang="en-US" sz="1800" dirty="0">
                <a:solidFill>
                  <a:srgbClr val="222222"/>
                </a:solidFill>
                <a:ea typeface="Helvetica Neue Light"/>
              </a:rPr>
              <a:t>Type</a:t>
            </a:r>
          </a:p>
          <a:p>
            <a:pPr marL="1257300" lvl="2" indent="-342900" algn="l">
              <a:buFont typeface="Arial" panose="020B0604020202020204" pitchFamily="34" charset="0"/>
              <a:buChar char="•"/>
            </a:pPr>
            <a:r>
              <a:rPr lang="en-US" sz="1800" dirty="0" err="1">
                <a:solidFill>
                  <a:srgbClr val="222222"/>
                </a:solidFill>
                <a:ea typeface="Helvetica Neue Light"/>
              </a:rPr>
              <a:t>Sendable</a:t>
            </a:r>
            <a:endParaRPr lang="en-US" sz="1800" dirty="0">
              <a:solidFill>
                <a:srgbClr val="222222"/>
              </a:solidFill>
              <a:ea typeface="Helvetica Neue Light"/>
            </a:endParaRPr>
          </a:p>
          <a:p>
            <a:pPr lvl="1" algn="l"/>
            <a:r>
              <a:rPr lang="en-US" sz="1800" dirty="0">
                <a:solidFill>
                  <a:srgbClr val="222222"/>
                </a:solidFill>
                <a:ea typeface="Helvetica Neue Light"/>
              </a:rPr>
              <a:t>Subscriber relationship</a:t>
            </a:r>
          </a:p>
          <a:p>
            <a:pPr lvl="1" algn="l"/>
            <a:r>
              <a:rPr lang="en-US" sz="1800" dirty="0">
                <a:solidFill>
                  <a:srgbClr val="222222"/>
                </a:solidFill>
                <a:ea typeface="Helvetica Neue Light"/>
              </a:rPr>
              <a:t>Attribute/field settings</a:t>
            </a:r>
          </a:p>
          <a:p>
            <a:pPr lvl="1" algn="l"/>
            <a:r>
              <a:rPr lang="en-US" sz="1800" dirty="0">
                <a:solidFill>
                  <a:srgbClr val="222222"/>
                </a:solidFill>
                <a:ea typeface="Helvetica Neue Light"/>
              </a:rPr>
              <a:t>Synchronized DE alignment</a:t>
            </a:r>
          </a:p>
          <a:p>
            <a:pPr marL="800100" lvl="1" indent="-342900">
              <a:buFont typeface="Arial" panose="020B0604020202020204" pitchFamily="34" charset="0"/>
              <a:buChar char="•"/>
            </a:pPr>
            <a:endParaRPr lang="en-US" sz="1800" dirty="0">
              <a:solidFill>
                <a:srgbClr val="222222"/>
              </a:solidFill>
              <a:ea typeface="Helvetica Neue Light"/>
            </a:endParaRP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Primary key</a:t>
            </a:r>
          </a:p>
          <a:p>
            <a:pPr marL="1257300" lvl="2" indent="-342900" algn="l">
              <a:buFont typeface="Arial" panose="020B0604020202020204" pitchFamily="34" charset="0"/>
              <a:buChar char="•"/>
            </a:pPr>
            <a:r>
              <a:rPr lang="en-US" sz="1800" dirty="0">
                <a:solidFill>
                  <a:srgbClr val="222222"/>
                </a:solidFill>
                <a:ea typeface="Helvetica Neue Light"/>
              </a:rPr>
              <a:t>Type, length, default</a:t>
            </a:r>
          </a:p>
          <a:p>
            <a:pPr marL="1257300" lvl="2" indent="-342900" algn="l">
              <a:buFont typeface="Arial" panose="020B0604020202020204" pitchFamily="34" charset="0"/>
              <a:buChar char="•"/>
            </a:pPr>
            <a:r>
              <a:rPr lang="en-US" sz="1800" dirty="0" err="1">
                <a:solidFill>
                  <a:srgbClr val="222222"/>
                </a:solidFill>
                <a:ea typeface="Helvetica Neue Light"/>
              </a:rPr>
              <a:t>CreatedDate</a:t>
            </a:r>
            <a:endParaRPr lang="en-US" sz="1800" dirty="0">
              <a:solidFill>
                <a:srgbClr val="222222"/>
              </a:solidFill>
              <a:ea typeface="Helvetica Neue Light"/>
            </a:endParaRPr>
          </a:p>
          <a:p>
            <a:pPr marL="1257300" lvl="2" indent="-342900" algn="l">
              <a:buFont typeface="Arial" panose="020B0604020202020204" pitchFamily="34" charset="0"/>
              <a:buChar char="•"/>
            </a:pPr>
            <a:r>
              <a:rPr lang="en-US" sz="1800" dirty="0">
                <a:solidFill>
                  <a:srgbClr val="222222"/>
                </a:solidFill>
                <a:ea typeface="Helvetica Neue Light"/>
              </a:rPr>
              <a:t>Nullable</a:t>
            </a:r>
          </a:p>
        </p:txBody>
      </p:sp>
      <p:pic>
        <p:nvPicPr>
          <p:cNvPr id="18" name="Picture 17">
            <a:extLst>
              <a:ext uri="{FF2B5EF4-FFF2-40B4-BE49-F238E27FC236}">
                <a16:creationId xmlns:a16="http://schemas.microsoft.com/office/drawing/2014/main" id="{243FC28C-811D-4582-97E8-91EAFE94EAC4}"/>
              </a:ext>
            </a:extLst>
          </p:cNvPr>
          <p:cNvPicPr>
            <a:picLocks noChangeAspect="1"/>
          </p:cNvPicPr>
          <p:nvPr/>
        </p:nvPicPr>
        <p:blipFill>
          <a:blip r:embed="rId6"/>
          <a:stretch>
            <a:fillRect/>
          </a:stretch>
        </p:blipFill>
        <p:spPr>
          <a:xfrm>
            <a:off x="4824539" y="519834"/>
            <a:ext cx="2626190" cy="1755218"/>
          </a:xfrm>
          <a:prstGeom prst="rect">
            <a:avLst/>
          </a:prstGeom>
          <a:ln>
            <a:solidFill>
              <a:schemeClr val="accent1"/>
            </a:solidFill>
          </a:ln>
        </p:spPr>
      </p:pic>
      <p:pic>
        <p:nvPicPr>
          <p:cNvPr id="19" name="Picture 18">
            <a:extLst>
              <a:ext uri="{FF2B5EF4-FFF2-40B4-BE49-F238E27FC236}">
                <a16:creationId xmlns:a16="http://schemas.microsoft.com/office/drawing/2014/main" id="{F2645F83-A55D-4C1C-A07B-CE49C214EFE6}"/>
              </a:ext>
            </a:extLst>
          </p:cNvPr>
          <p:cNvPicPr>
            <a:picLocks noChangeAspect="1"/>
          </p:cNvPicPr>
          <p:nvPr/>
        </p:nvPicPr>
        <p:blipFill>
          <a:blip r:embed="rId7"/>
          <a:stretch>
            <a:fillRect/>
          </a:stretch>
        </p:blipFill>
        <p:spPr>
          <a:xfrm>
            <a:off x="4824539" y="2634247"/>
            <a:ext cx="3422878" cy="1918124"/>
          </a:xfrm>
          <a:prstGeom prst="rect">
            <a:avLst/>
          </a:prstGeom>
          <a:ln>
            <a:solidFill>
              <a:schemeClr val="accent1"/>
            </a:solidFill>
          </a:ln>
        </p:spPr>
      </p:pic>
    </p:spTree>
    <p:extLst>
      <p:ext uri="{BB962C8B-B14F-4D97-AF65-F5344CB8AC3E}">
        <p14:creationId xmlns:p14="http://schemas.microsoft.com/office/powerpoint/2010/main" val="41437900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Automation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Selection Criteria</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762931"/>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Target Definition</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3519115"/>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Run!</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u="sng" dirty="0" err="1">
                <a:solidFill>
                  <a:srgbClr val="222222"/>
                </a:solidFill>
                <a:ea typeface="Helvetica Neue Light"/>
              </a:rPr>
              <a:t>DESelect</a:t>
            </a:r>
            <a:endParaRPr lang="en-US" sz="1800" u="sng" dirty="0">
              <a:solidFill>
                <a:srgbClr val="222222"/>
              </a:solidFill>
              <a:ea typeface="Helvetica Neue Light"/>
            </a:endParaRPr>
          </a:p>
          <a:p>
            <a:pPr marL="457200" lvl="1" indent="0" algn="l"/>
            <a:r>
              <a:rPr lang="en-US" sz="1800" dirty="0">
                <a:solidFill>
                  <a:srgbClr val="222222"/>
                </a:solidFill>
                <a:ea typeface="Helvetica Neue Light"/>
              </a:rPr>
              <a:t>New selection</a:t>
            </a:r>
          </a:p>
          <a:p>
            <a:pPr marL="457200" lvl="1" indent="0" algn="l"/>
            <a:r>
              <a:rPr lang="en-US" sz="1800" dirty="0">
                <a:solidFill>
                  <a:srgbClr val="222222"/>
                </a:solidFill>
                <a:ea typeface="Helvetica Neue Light"/>
              </a:rPr>
              <a:t>Selection criteria</a:t>
            </a:r>
          </a:p>
          <a:p>
            <a:pPr marL="1257300" lvl="2" indent="-342900" algn="l">
              <a:buFont typeface="Arial" panose="020B0604020202020204" pitchFamily="34" charset="0"/>
              <a:buChar char="•"/>
            </a:pPr>
            <a:r>
              <a:rPr lang="en-US" sz="1800" dirty="0">
                <a:solidFill>
                  <a:srgbClr val="222222"/>
                </a:solidFill>
                <a:ea typeface="Helvetica Neue Light"/>
              </a:rPr>
              <a:t>Source DE</a:t>
            </a:r>
          </a:p>
          <a:p>
            <a:pPr marL="1257300" lvl="2" indent="-342900" algn="l">
              <a:buFont typeface="Arial" panose="020B0604020202020204" pitchFamily="34" charset="0"/>
              <a:buChar char="•"/>
            </a:pPr>
            <a:r>
              <a:rPr lang="en-US" sz="1800" dirty="0">
                <a:solidFill>
                  <a:srgbClr val="222222"/>
                </a:solidFill>
                <a:ea typeface="Helvetica Neue Light"/>
              </a:rPr>
              <a:t>Filters</a:t>
            </a:r>
          </a:p>
          <a:p>
            <a:pPr marL="457200" lvl="1" indent="0" algn="l"/>
            <a:r>
              <a:rPr lang="en-US" sz="1800" dirty="0">
                <a:solidFill>
                  <a:srgbClr val="222222"/>
                </a:solidFill>
                <a:ea typeface="Helvetica Neue Light"/>
              </a:rPr>
              <a:t>Target definition</a:t>
            </a:r>
          </a:p>
          <a:p>
            <a:pPr marL="1257300" lvl="2" indent="-342900" algn="l">
              <a:buFont typeface="Arial" panose="020B0604020202020204" pitchFamily="34" charset="0"/>
              <a:buChar char="•"/>
            </a:pPr>
            <a:r>
              <a:rPr lang="en-US" sz="1800" dirty="0">
                <a:solidFill>
                  <a:srgbClr val="222222"/>
                </a:solidFill>
                <a:ea typeface="Helvetica Neue Light"/>
              </a:rPr>
              <a:t>Data extension setup</a:t>
            </a:r>
          </a:p>
          <a:p>
            <a:pPr marL="1257300" lvl="2" indent="-342900" algn="l">
              <a:buFont typeface="Arial" panose="020B0604020202020204" pitchFamily="34" charset="0"/>
              <a:buChar char="•"/>
            </a:pPr>
            <a:r>
              <a:rPr lang="en-US" sz="1800" dirty="0">
                <a:solidFill>
                  <a:srgbClr val="222222"/>
                </a:solidFill>
                <a:ea typeface="Helvetica Neue Light"/>
              </a:rPr>
              <a:t>Naming convention</a:t>
            </a:r>
          </a:p>
          <a:p>
            <a:pPr marL="1257300" lvl="2" indent="-342900" algn="l">
              <a:buFont typeface="Arial" panose="020B0604020202020204" pitchFamily="34" charset="0"/>
              <a:buChar char="•"/>
            </a:pPr>
            <a:endParaRPr lang="en-US" sz="2000" dirty="0">
              <a:solidFill>
                <a:srgbClr val="222222"/>
              </a:solidFill>
              <a:ea typeface="Helvetica Neue Light"/>
            </a:endParaRPr>
          </a:p>
        </p:txBody>
      </p:sp>
      <p:pic>
        <p:nvPicPr>
          <p:cNvPr id="18" name="Picture 17">
            <a:extLst>
              <a:ext uri="{FF2B5EF4-FFF2-40B4-BE49-F238E27FC236}">
                <a16:creationId xmlns:a16="http://schemas.microsoft.com/office/drawing/2014/main" id="{578BF2BB-BC22-4C6B-98EB-ED287E37E4F9}"/>
              </a:ext>
            </a:extLst>
          </p:cNvPr>
          <p:cNvPicPr>
            <a:picLocks noChangeAspect="1"/>
          </p:cNvPicPr>
          <p:nvPr/>
        </p:nvPicPr>
        <p:blipFill>
          <a:blip r:embed="rId6"/>
          <a:stretch>
            <a:fillRect/>
          </a:stretch>
        </p:blipFill>
        <p:spPr>
          <a:xfrm>
            <a:off x="4802878" y="477271"/>
            <a:ext cx="3458867" cy="1152955"/>
          </a:xfrm>
          <a:prstGeom prst="rect">
            <a:avLst/>
          </a:prstGeom>
          <a:ln>
            <a:solidFill>
              <a:schemeClr val="accent1"/>
            </a:solidFill>
          </a:ln>
        </p:spPr>
      </p:pic>
      <p:pic>
        <p:nvPicPr>
          <p:cNvPr id="19" name="Picture 18">
            <a:extLst>
              <a:ext uri="{FF2B5EF4-FFF2-40B4-BE49-F238E27FC236}">
                <a16:creationId xmlns:a16="http://schemas.microsoft.com/office/drawing/2014/main" id="{E2D2C1BF-BB3C-43D8-83EF-0D471CFC8FE9}"/>
              </a:ext>
            </a:extLst>
          </p:cNvPr>
          <p:cNvPicPr>
            <a:picLocks noChangeAspect="1"/>
          </p:cNvPicPr>
          <p:nvPr/>
        </p:nvPicPr>
        <p:blipFill>
          <a:blip r:embed="rId7"/>
          <a:stretch>
            <a:fillRect/>
          </a:stretch>
        </p:blipFill>
        <p:spPr>
          <a:xfrm>
            <a:off x="4802879" y="2108332"/>
            <a:ext cx="3458867" cy="1248199"/>
          </a:xfrm>
          <a:prstGeom prst="rect">
            <a:avLst/>
          </a:prstGeom>
          <a:ln>
            <a:solidFill>
              <a:schemeClr val="accent1"/>
            </a:solidFill>
          </a:ln>
        </p:spPr>
      </p:pic>
      <p:pic>
        <p:nvPicPr>
          <p:cNvPr id="20" name="Picture 19">
            <a:extLst>
              <a:ext uri="{FF2B5EF4-FFF2-40B4-BE49-F238E27FC236}">
                <a16:creationId xmlns:a16="http://schemas.microsoft.com/office/drawing/2014/main" id="{BF334218-2052-40BA-AD3A-DF5C9142FF44}"/>
              </a:ext>
            </a:extLst>
          </p:cNvPr>
          <p:cNvPicPr>
            <a:picLocks noChangeAspect="1"/>
          </p:cNvPicPr>
          <p:nvPr/>
        </p:nvPicPr>
        <p:blipFill>
          <a:blip r:embed="rId8"/>
          <a:stretch>
            <a:fillRect/>
          </a:stretch>
        </p:blipFill>
        <p:spPr>
          <a:xfrm>
            <a:off x="4802878" y="3804167"/>
            <a:ext cx="3458867" cy="301355"/>
          </a:xfrm>
          <a:prstGeom prst="rect">
            <a:avLst/>
          </a:prstGeom>
          <a:ln>
            <a:solidFill>
              <a:schemeClr val="accent1"/>
            </a:solidFill>
          </a:ln>
        </p:spPr>
      </p:pic>
    </p:spTree>
    <p:extLst>
      <p:ext uri="{BB962C8B-B14F-4D97-AF65-F5344CB8AC3E}">
        <p14:creationId xmlns:p14="http://schemas.microsoft.com/office/powerpoint/2010/main" val="3394415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Automation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Automation Setup</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230581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Connecting to Journey</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lvl="1" algn="l"/>
            <a:r>
              <a:rPr lang="en-US" sz="1800" dirty="0">
                <a:solidFill>
                  <a:srgbClr val="222222"/>
                </a:solidFill>
                <a:ea typeface="Helvetica Neue Light"/>
              </a:rPr>
              <a:t>Automation Setup</a:t>
            </a:r>
          </a:p>
          <a:p>
            <a:pPr marL="1257300" lvl="2" indent="-342900" algn="l">
              <a:buFont typeface="Arial" panose="020B0604020202020204" pitchFamily="34" charset="0"/>
              <a:buChar char="•"/>
            </a:pPr>
            <a:r>
              <a:rPr lang="en-US" sz="1800" dirty="0">
                <a:solidFill>
                  <a:srgbClr val="222222"/>
                </a:solidFill>
                <a:ea typeface="Helvetica Neue Light"/>
              </a:rPr>
              <a:t>Schedule</a:t>
            </a:r>
          </a:p>
          <a:p>
            <a:pPr marL="1257300" lvl="2" indent="-342900" algn="l">
              <a:buFont typeface="Arial" panose="020B0604020202020204" pitchFamily="34" charset="0"/>
              <a:buChar char="•"/>
            </a:pPr>
            <a:r>
              <a:rPr lang="en-US" sz="1800" dirty="0">
                <a:solidFill>
                  <a:srgbClr val="222222"/>
                </a:solidFill>
                <a:ea typeface="Helvetica Neue Light"/>
              </a:rPr>
              <a:t>Notifications</a:t>
            </a:r>
          </a:p>
          <a:p>
            <a:pPr lvl="1" algn="l"/>
            <a:r>
              <a:rPr lang="en-US" sz="1800" dirty="0">
                <a:solidFill>
                  <a:srgbClr val="222222"/>
                </a:solidFill>
                <a:ea typeface="Helvetica Neue Light"/>
              </a:rPr>
              <a:t>Add activity</a:t>
            </a:r>
          </a:p>
          <a:p>
            <a:pPr lvl="1" algn="l"/>
            <a:r>
              <a:rPr lang="en-US" sz="1800" dirty="0">
                <a:solidFill>
                  <a:srgbClr val="222222"/>
                </a:solidFill>
                <a:ea typeface="Helvetica Neue Light"/>
              </a:rPr>
              <a:t>Run once</a:t>
            </a:r>
          </a:p>
          <a:p>
            <a:pPr lvl="1" algn="l"/>
            <a:r>
              <a:rPr lang="en-US" sz="1800" dirty="0">
                <a:solidFill>
                  <a:srgbClr val="222222"/>
                </a:solidFill>
                <a:ea typeface="Helvetica Neue Light"/>
              </a:rPr>
              <a:t>Activate</a:t>
            </a:r>
          </a:p>
          <a:p>
            <a:pPr lvl="1" algn="l"/>
            <a:r>
              <a:rPr lang="en-US" sz="1800" dirty="0">
                <a:solidFill>
                  <a:srgbClr val="222222"/>
                </a:solidFill>
                <a:ea typeface="Helvetica Neue Light"/>
              </a:rPr>
              <a:t>Journey connect</a:t>
            </a: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Active vs paused</a:t>
            </a:r>
          </a:p>
          <a:p>
            <a:pPr marL="1257300" lvl="2" indent="-342900" algn="l">
              <a:buFont typeface="Arial" panose="020B0604020202020204" pitchFamily="34" charset="0"/>
              <a:buChar char="•"/>
            </a:pPr>
            <a:r>
              <a:rPr lang="en-US" sz="1800" dirty="0">
                <a:solidFill>
                  <a:srgbClr val="222222"/>
                </a:solidFill>
                <a:ea typeface="Helvetica Neue Light"/>
              </a:rPr>
              <a:t>Journey activity add</a:t>
            </a:r>
          </a:p>
        </p:txBody>
      </p:sp>
      <p:pic>
        <p:nvPicPr>
          <p:cNvPr id="9" name="Picture 8">
            <a:extLst>
              <a:ext uri="{FF2B5EF4-FFF2-40B4-BE49-F238E27FC236}">
                <a16:creationId xmlns:a16="http://schemas.microsoft.com/office/drawing/2014/main" id="{A6E6AA8A-F81F-41E7-B473-539040069D4D}"/>
              </a:ext>
            </a:extLst>
          </p:cNvPr>
          <p:cNvPicPr>
            <a:picLocks noChangeAspect="1"/>
          </p:cNvPicPr>
          <p:nvPr/>
        </p:nvPicPr>
        <p:blipFill>
          <a:blip r:embed="rId6"/>
          <a:stretch>
            <a:fillRect/>
          </a:stretch>
        </p:blipFill>
        <p:spPr>
          <a:xfrm>
            <a:off x="4800263" y="474277"/>
            <a:ext cx="3027330" cy="1758705"/>
          </a:xfrm>
          <a:prstGeom prst="rect">
            <a:avLst/>
          </a:prstGeom>
          <a:ln>
            <a:solidFill>
              <a:schemeClr val="accent1"/>
            </a:solidFill>
          </a:ln>
        </p:spPr>
      </p:pic>
      <p:pic>
        <p:nvPicPr>
          <p:cNvPr id="10" name="Picture 9">
            <a:extLst>
              <a:ext uri="{FF2B5EF4-FFF2-40B4-BE49-F238E27FC236}">
                <a16:creationId xmlns:a16="http://schemas.microsoft.com/office/drawing/2014/main" id="{326DAF5B-96C8-4ED2-B08C-9E08D2E86C02}"/>
              </a:ext>
            </a:extLst>
          </p:cNvPr>
          <p:cNvPicPr>
            <a:picLocks noChangeAspect="1"/>
          </p:cNvPicPr>
          <p:nvPr/>
        </p:nvPicPr>
        <p:blipFill>
          <a:blip r:embed="rId7"/>
          <a:stretch>
            <a:fillRect/>
          </a:stretch>
        </p:blipFill>
        <p:spPr>
          <a:xfrm>
            <a:off x="4808355" y="2618843"/>
            <a:ext cx="3449563" cy="1632407"/>
          </a:xfrm>
          <a:prstGeom prst="rect">
            <a:avLst/>
          </a:prstGeom>
          <a:ln>
            <a:solidFill>
              <a:schemeClr val="accent1"/>
            </a:solidFill>
          </a:ln>
        </p:spPr>
      </p:pic>
    </p:spTree>
    <p:extLst>
      <p:ext uri="{BB962C8B-B14F-4D97-AF65-F5344CB8AC3E}">
        <p14:creationId xmlns:p14="http://schemas.microsoft.com/office/powerpoint/2010/main" val="3524329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extLst>
              <p:ext uri="{D42A27DB-BD31-4B8C-83A1-F6EECF244321}">
                <p14:modId xmlns:p14="http://schemas.microsoft.com/office/powerpoint/2010/main" val="2169426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Journey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Entry Event Setup</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998314"/>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Activate &amp; Validate</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360782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Journey Paths</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Entry event setup</a:t>
            </a:r>
          </a:p>
          <a:p>
            <a:pPr marL="1257300" lvl="2" indent="-342900" algn="l">
              <a:buFont typeface="Arial" panose="020B0604020202020204" pitchFamily="34" charset="0"/>
              <a:buChar char="•"/>
            </a:pPr>
            <a:r>
              <a:rPr lang="en-US" sz="1800" dirty="0">
                <a:solidFill>
                  <a:srgbClr val="222222"/>
                </a:solidFill>
                <a:ea typeface="Helvetica Neue Light"/>
              </a:rPr>
              <a:t>Evaluate records</a:t>
            </a:r>
          </a:p>
          <a:p>
            <a:pPr marL="457200" lvl="1" indent="0" algn="l"/>
            <a:r>
              <a:rPr lang="en-US" sz="1800" dirty="0">
                <a:solidFill>
                  <a:srgbClr val="222222"/>
                </a:solidFill>
                <a:ea typeface="Helvetica Neue Light"/>
              </a:rPr>
              <a:t>Decision split quick setup</a:t>
            </a:r>
          </a:p>
          <a:p>
            <a:pPr marL="457200" lvl="1" indent="0" algn="l"/>
            <a:r>
              <a:rPr lang="en-US" sz="1800" dirty="0">
                <a:solidFill>
                  <a:srgbClr val="222222"/>
                </a:solidFill>
                <a:ea typeface="Helvetica Neue Light"/>
              </a:rPr>
              <a:t>Activate</a:t>
            </a:r>
          </a:p>
          <a:p>
            <a:pPr marL="457200" lvl="1" indent="0" algn="l"/>
            <a:r>
              <a:rPr lang="en-US" sz="1800" dirty="0">
                <a:solidFill>
                  <a:srgbClr val="222222"/>
                </a:solidFill>
                <a:ea typeface="Helvetica Neue Light"/>
              </a:rPr>
              <a:t>Send in records/data</a:t>
            </a:r>
          </a:p>
          <a:p>
            <a:pPr marL="800100" lvl="1" indent="-342900">
              <a:buFont typeface="Arial" panose="020B0604020202020204" pitchFamily="34" charset="0"/>
              <a:buChar char="•"/>
            </a:pPr>
            <a:endParaRPr lang="en-US" sz="1800" dirty="0">
              <a:solidFill>
                <a:srgbClr val="222222"/>
              </a:solidFill>
              <a:ea typeface="Helvetica Neue Light"/>
            </a:endParaRP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Journey settings</a:t>
            </a:r>
          </a:p>
          <a:p>
            <a:pPr marL="1257300" lvl="2" indent="-342900" algn="l">
              <a:buFont typeface="Arial" panose="020B0604020202020204" pitchFamily="34" charset="0"/>
              <a:buChar char="•"/>
            </a:pPr>
            <a:r>
              <a:rPr lang="en-US" sz="1800" dirty="0">
                <a:solidFill>
                  <a:srgbClr val="222222"/>
                </a:solidFill>
                <a:ea typeface="Helvetica Neue Light"/>
              </a:rPr>
              <a:t>Wait steps</a:t>
            </a:r>
          </a:p>
          <a:p>
            <a:pPr marL="1257300" lvl="2" indent="-342900" algn="l">
              <a:buFont typeface="Arial" panose="020B0604020202020204" pitchFamily="34" charset="0"/>
              <a:buChar char="•"/>
            </a:pPr>
            <a:r>
              <a:rPr lang="en-US" sz="1800" dirty="0">
                <a:solidFill>
                  <a:srgbClr val="222222"/>
                </a:solidFill>
                <a:ea typeface="Helvetica Neue Light"/>
              </a:rPr>
              <a:t>Paths</a:t>
            </a:r>
          </a:p>
        </p:txBody>
      </p:sp>
      <p:pic>
        <p:nvPicPr>
          <p:cNvPr id="18" name="Picture 17">
            <a:extLst>
              <a:ext uri="{FF2B5EF4-FFF2-40B4-BE49-F238E27FC236}">
                <a16:creationId xmlns:a16="http://schemas.microsoft.com/office/drawing/2014/main" id="{9F57E2F4-7B8C-4977-8387-4F2EAEACB2CC}"/>
              </a:ext>
            </a:extLst>
          </p:cNvPr>
          <p:cNvPicPr>
            <a:picLocks noChangeAspect="1"/>
          </p:cNvPicPr>
          <p:nvPr/>
        </p:nvPicPr>
        <p:blipFill>
          <a:blip r:embed="rId6"/>
          <a:stretch>
            <a:fillRect/>
          </a:stretch>
        </p:blipFill>
        <p:spPr>
          <a:xfrm>
            <a:off x="4808355" y="464327"/>
            <a:ext cx="1314248" cy="1486270"/>
          </a:xfrm>
          <a:prstGeom prst="rect">
            <a:avLst/>
          </a:prstGeom>
          <a:ln>
            <a:solidFill>
              <a:schemeClr val="accent1"/>
            </a:solidFill>
          </a:ln>
        </p:spPr>
      </p:pic>
      <p:pic>
        <p:nvPicPr>
          <p:cNvPr id="19" name="Picture 2">
            <a:extLst>
              <a:ext uri="{FF2B5EF4-FFF2-40B4-BE49-F238E27FC236}">
                <a16:creationId xmlns:a16="http://schemas.microsoft.com/office/drawing/2014/main" id="{CC15F6C1-6BE3-47B6-B5C6-75C86D3E2D0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08355" y="2280893"/>
            <a:ext cx="1610315" cy="1288252"/>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E57B93F8-5EB1-4DF1-B539-E768EFC7F563}"/>
              </a:ext>
            </a:extLst>
          </p:cNvPr>
          <p:cNvPicPr>
            <a:picLocks noChangeAspect="1"/>
          </p:cNvPicPr>
          <p:nvPr/>
        </p:nvPicPr>
        <p:blipFill>
          <a:blip r:embed="rId8"/>
          <a:stretch>
            <a:fillRect/>
          </a:stretch>
        </p:blipFill>
        <p:spPr>
          <a:xfrm>
            <a:off x="4808355" y="3923224"/>
            <a:ext cx="1659061" cy="1045843"/>
          </a:xfrm>
          <a:prstGeom prst="rect">
            <a:avLst/>
          </a:prstGeom>
          <a:ln>
            <a:solidFill>
              <a:schemeClr val="accent1"/>
            </a:solidFill>
          </a:ln>
        </p:spPr>
      </p:pic>
    </p:spTree>
    <p:extLst>
      <p:ext uri="{BB962C8B-B14F-4D97-AF65-F5344CB8AC3E}">
        <p14:creationId xmlns:p14="http://schemas.microsoft.com/office/powerpoint/2010/main" val="2622216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Journey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One-to-many</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461569"/>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One-to-one</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2568725"/>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Custom Fields</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1-to-many</a:t>
            </a:r>
          </a:p>
          <a:p>
            <a:pPr marL="1257300" lvl="2" indent="-342900" algn="l">
              <a:buFont typeface="Arial" panose="020B0604020202020204" pitchFamily="34" charset="0"/>
              <a:buChar char="•"/>
            </a:pPr>
            <a:r>
              <a:rPr lang="en-US" sz="1800" dirty="0">
                <a:solidFill>
                  <a:srgbClr val="222222"/>
                </a:solidFill>
                <a:ea typeface="Helvetica Neue Light"/>
              </a:rPr>
              <a:t>Contact data first</a:t>
            </a:r>
          </a:p>
          <a:p>
            <a:pPr marL="1257300" lvl="2" indent="-342900" algn="l">
              <a:buFont typeface="Arial" panose="020B0604020202020204" pitchFamily="34" charset="0"/>
              <a:buChar char="•"/>
            </a:pPr>
            <a:r>
              <a:rPr lang="en-US" sz="1800" dirty="0">
                <a:solidFill>
                  <a:srgbClr val="222222"/>
                </a:solidFill>
                <a:ea typeface="Helvetica Neue Light"/>
              </a:rPr>
              <a:t>Attribute to attribute</a:t>
            </a:r>
          </a:p>
          <a:p>
            <a:pPr marL="1257300" lvl="2" indent="-342900" algn="l">
              <a:buFont typeface="Arial" panose="020B0604020202020204" pitchFamily="34" charset="0"/>
              <a:buChar char="•"/>
            </a:pPr>
            <a:r>
              <a:rPr lang="en-US" sz="1800" dirty="0">
                <a:solidFill>
                  <a:srgbClr val="222222"/>
                </a:solidFill>
                <a:ea typeface="Helvetica Neue Light"/>
              </a:rPr>
              <a:t>Correct matching key</a:t>
            </a:r>
          </a:p>
          <a:p>
            <a:pPr marL="457200" lvl="1" indent="0" algn="l"/>
            <a:r>
              <a:rPr lang="en-US" sz="1800" dirty="0">
                <a:solidFill>
                  <a:srgbClr val="222222"/>
                </a:solidFill>
                <a:ea typeface="Helvetica Neue Light"/>
              </a:rPr>
              <a:t>One-to-one</a:t>
            </a:r>
          </a:p>
          <a:p>
            <a:pPr marL="457200" lvl="1" indent="0" algn="l"/>
            <a:r>
              <a:rPr lang="en-US" sz="1800" dirty="0">
                <a:solidFill>
                  <a:srgbClr val="222222"/>
                </a:solidFill>
                <a:ea typeface="Helvetica Neue Light"/>
              </a:rPr>
              <a:t>Art of possible</a:t>
            </a:r>
          </a:p>
          <a:p>
            <a:pPr marL="800100" lvl="1" indent="-342900">
              <a:buFont typeface="Arial" panose="020B0604020202020204" pitchFamily="34" charset="0"/>
              <a:buChar char="•"/>
            </a:pPr>
            <a:endParaRPr lang="en-US" sz="1800" dirty="0">
              <a:solidFill>
                <a:srgbClr val="222222"/>
              </a:solidFill>
              <a:ea typeface="Helvetica Neue Light"/>
            </a:endParaRP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Null errors</a:t>
            </a:r>
          </a:p>
        </p:txBody>
      </p:sp>
      <p:pic>
        <p:nvPicPr>
          <p:cNvPr id="15" name="Picture 2">
            <a:extLst>
              <a:ext uri="{FF2B5EF4-FFF2-40B4-BE49-F238E27FC236}">
                <a16:creationId xmlns:a16="http://schemas.microsoft.com/office/drawing/2014/main" id="{68337AC8-6081-4E68-B896-032A4E7E5B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01138" y="472675"/>
            <a:ext cx="4037169" cy="792372"/>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EE8CFC9A-B7B5-4AC4-AF59-58BF744D8359}"/>
              </a:ext>
            </a:extLst>
          </p:cNvPr>
          <p:cNvPicPr>
            <a:picLocks noChangeAspect="1"/>
          </p:cNvPicPr>
          <p:nvPr/>
        </p:nvPicPr>
        <p:blipFill>
          <a:blip r:embed="rId7"/>
          <a:stretch>
            <a:fillRect/>
          </a:stretch>
        </p:blipFill>
        <p:spPr>
          <a:xfrm>
            <a:off x="4801137" y="1786877"/>
            <a:ext cx="4059747" cy="649427"/>
          </a:xfrm>
          <a:prstGeom prst="rect">
            <a:avLst/>
          </a:prstGeom>
          <a:ln>
            <a:solidFill>
              <a:schemeClr val="accent1"/>
            </a:solidFill>
          </a:ln>
        </p:spPr>
      </p:pic>
      <p:pic>
        <p:nvPicPr>
          <p:cNvPr id="17" name="Picture 16">
            <a:extLst>
              <a:ext uri="{FF2B5EF4-FFF2-40B4-BE49-F238E27FC236}">
                <a16:creationId xmlns:a16="http://schemas.microsoft.com/office/drawing/2014/main" id="{1926F368-7C11-4D2B-A905-440F62199359}"/>
              </a:ext>
            </a:extLst>
          </p:cNvPr>
          <p:cNvPicPr>
            <a:picLocks noChangeAspect="1"/>
          </p:cNvPicPr>
          <p:nvPr/>
        </p:nvPicPr>
        <p:blipFill>
          <a:blip r:embed="rId8"/>
          <a:stretch>
            <a:fillRect/>
          </a:stretch>
        </p:blipFill>
        <p:spPr>
          <a:xfrm>
            <a:off x="4801137" y="2868466"/>
            <a:ext cx="4037170" cy="844485"/>
          </a:xfrm>
          <a:prstGeom prst="rect">
            <a:avLst/>
          </a:prstGeom>
          <a:ln>
            <a:solidFill>
              <a:schemeClr val="accent1"/>
            </a:solidFill>
          </a:ln>
        </p:spPr>
      </p:pic>
    </p:spTree>
    <p:extLst>
      <p:ext uri="{BB962C8B-B14F-4D97-AF65-F5344CB8AC3E}">
        <p14:creationId xmlns:p14="http://schemas.microsoft.com/office/powerpoint/2010/main" val="18922082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Journey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CRM required fields</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461569"/>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Create task setup</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2568725"/>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Personalized fields</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Create task</a:t>
            </a:r>
          </a:p>
          <a:p>
            <a:pPr marL="1257300" lvl="2" indent="-342900" algn="l">
              <a:buFont typeface="Arial" panose="020B0604020202020204" pitchFamily="34" charset="0"/>
              <a:buChar char="•"/>
            </a:pPr>
            <a:r>
              <a:rPr lang="en-US" sz="1800" dirty="0">
                <a:solidFill>
                  <a:srgbClr val="222222"/>
                </a:solidFill>
                <a:ea typeface="Helvetica Neue Light"/>
              </a:rPr>
              <a:t>Required fields</a:t>
            </a:r>
          </a:p>
          <a:p>
            <a:pPr marL="1257300" lvl="2" indent="-342900" algn="l">
              <a:buFont typeface="Arial" panose="020B0604020202020204" pitchFamily="34" charset="0"/>
              <a:buChar char="•"/>
            </a:pPr>
            <a:r>
              <a:rPr lang="en-US" sz="1800" dirty="0">
                <a:solidFill>
                  <a:srgbClr val="222222"/>
                </a:solidFill>
                <a:ea typeface="Helvetica Neue Light"/>
              </a:rPr>
              <a:t>Customized field entry</a:t>
            </a:r>
          </a:p>
          <a:p>
            <a:pPr marL="1257300" lvl="2" indent="-342900" algn="l">
              <a:buFont typeface="Arial" panose="020B0604020202020204" pitchFamily="34" charset="0"/>
              <a:buChar char="•"/>
            </a:pPr>
            <a:r>
              <a:rPr lang="en-US" sz="1800" dirty="0">
                <a:solidFill>
                  <a:srgbClr val="222222"/>
                </a:solidFill>
                <a:ea typeface="Helvetica Neue Light"/>
              </a:rPr>
              <a:t>Test</a:t>
            </a:r>
          </a:p>
          <a:p>
            <a:pPr marL="457200" lvl="1" indent="0" algn="l"/>
            <a:r>
              <a:rPr lang="en-US" sz="1800" dirty="0">
                <a:solidFill>
                  <a:srgbClr val="222222"/>
                </a:solidFill>
                <a:ea typeface="Helvetica Neue Light"/>
              </a:rPr>
              <a:t>Update lead</a:t>
            </a:r>
          </a:p>
          <a:p>
            <a:pPr marL="1200150" lvl="2" indent="-285750" algn="l">
              <a:buFont typeface="Arial" panose="020B0604020202020204" pitchFamily="34" charset="0"/>
              <a:buChar char="•"/>
            </a:pPr>
            <a:r>
              <a:rPr lang="en-US" sz="1800" dirty="0">
                <a:solidFill>
                  <a:srgbClr val="222222"/>
                </a:solidFill>
                <a:ea typeface="Helvetica Neue Light"/>
              </a:rPr>
              <a:t>Field choice</a:t>
            </a:r>
          </a:p>
          <a:p>
            <a:pPr marL="1200150" lvl="2" indent="-285750" algn="l">
              <a:buFont typeface="Arial" panose="020B0604020202020204" pitchFamily="34" charset="0"/>
              <a:buChar char="•"/>
            </a:pPr>
            <a:r>
              <a:rPr lang="en-US" sz="1800" dirty="0">
                <a:solidFill>
                  <a:srgbClr val="222222"/>
                </a:solidFill>
                <a:ea typeface="Helvetica Neue Light"/>
              </a:rPr>
              <a:t>Test</a:t>
            </a:r>
          </a:p>
          <a:p>
            <a:pPr marL="800100" lvl="1" indent="-342900">
              <a:buFont typeface="Arial" panose="020B0604020202020204" pitchFamily="34" charset="0"/>
              <a:buChar char="•"/>
            </a:pPr>
            <a:endParaRPr lang="en-US" sz="1800" dirty="0">
              <a:solidFill>
                <a:srgbClr val="222222"/>
              </a:solidFill>
              <a:ea typeface="Helvetica Neue Light"/>
            </a:endParaRP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CRM settings</a:t>
            </a:r>
          </a:p>
          <a:p>
            <a:pPr marL="1257300" lvl="2" indent="-342900" algn="l">
              <a:buFont typeface="Arial" panose="020B0604020202020204" pitchFamily="34" charset="0"/>
              <a:buChar char="•"/>
            </a:pPr>
            <a:r>
              <a:rPr lang="en-US" sz="1800" dirty="0">
                <a:solidFill>
                  <a:srgbClr val="222222"/>
                </a:solidFill>
                <a:ea typeface="Helvetica Neue Light"/>
              </a:rPr>
              <a:t>API call limits</a:t>
            </a:r>
          </a:p>
        </p:txBody>
      </p:sp>
      <p:sp>
        <p:nvSpPr>
          <p:cNvPr id="18" name="Google Shape;404;p52">
            <a:extLst>
              <a:ext uri="{FF2B5EF4-FFF2-40B4-BE49-F238E27FC236}">
                <a16:creationId xmlns:a16="http://schemas.microsoft.com/office/drawing/2014/main" id="{88842240-96D2-442A-9FDA-836D12ADFEA2}"/>
              </a:ext>
            </a:extLst>
          </p:cNvPr>
          <p:cNvSpPr txBox="1">
            <a:spLocks/>
          </p:cNvSpPr>
          <p:nvPr/>
        </p:nvSpPr>
        <p:spPr>
          <a:xfrm>
            <a:off x="4280111" y="3799712"/>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Summary</a:t>
            </a:r>
          </a:p>
        </p:txBody>
      </p:sp>
      <p:pic>
        <p:nvPicPr>
          <p:cNvPr id="19" name="Picture 18">
            <a:extLst>
              <a:ext uri="{FF2B5EF4-FFF2-40B4-BE49-F238E27FC236}">
                <a16:creationId xmlns:a16="http://schemas.microsoft.com/office/drawing/2014/main" id="{0572D8DF-A4EC-4188-9D19-340F0242B1A5}"/>
              </a:ext>
            </a:extLst>
          </p:cNvPr>
          <p:cNvPicPr>
            <a:picLocks noChangeAspect="1"/>
          </p:cNvPicPr>
          <p:nvPr/>
        </p:nvPicPr>
        <p:blipFill>
          <a:blip r:embed="rId6"/>
          <a:stretch>
            <a:fillRect/>
          </a:stretch>
        </p:blipFill>
        <p:spPr>
          <a:xfrm>
            <a:off x="4824539" y="2830672"/>
            <a:ext cx="3501427" cy="917548"/>
          </a:xfrm>
          <a:prstGeom prst="rect">
            <a:avLst/>
          </a:prstGeom>
          <a:ln>
            <a:solidFill>
              <a:schemeClr val="accent1"/>
            </a:solidFill>
          </a:ln>
        </p:spPr>
      </p:pic>
      <p:pic>
        <p:nvPicPr>
          <p:cNvPr id="20" name="Picture 19">
            <a:extLst>
              <a:ext uri="{FF2B5EF4-FFF2-40B4-BE49-F238E27FC236}">
                <a16:creationId xmlns:a16="http://schemas.microsoft.com/office/drawing/2014/main" id="{B1D2E8DF-56AA-48B5-A7E6-5504C8C6A580}"/>
              </a:ext>
            </a:extLst>
          </p:cNvPr>
          <p:cNvPicPr>
            <a:picLocks noChangeAspect="1"/>
          </p:cNvPicPr>
          <p:nvPr/>
        </p:nvPicPr>
        <p:blipFill>
          <a:blip r:embed="rId7"/>
          <a:stretch>
            <a:fillRect/>
          </a:stretch>
        </p:blipFill>
        <p:spPr>
          <a:xfrm>
            <a:off x="4816226" y="1756768"/>
            <a:ext cx="3553836" cy="778705"/>
          </a:xfrm>
          <a:prstGeom prst="rect">
            <a:avLst/>
          </a:prstGeom>
          <a:ln>
            <a:solidFill>
              <a:schemeClr val="accent1"/>
            </a:solidFill>
          </a:ln>
        </p:spPr>
      </p:pic>
      <p:pic>
        <p:nvPicPr>
          <p:cNvPr id="21" name="Picture 20">
            <a:extLst>
              <a:ext uri="{FF2B5EF4-FFF2-40B4-BE49-F238E27FC236}">
                <a16:creationId xmlns:a16="http://schemas.microsoft.com/office/drawing/2014/main" id="{D18971E2-0124-44B6-BF32-99A3227E411D}"/>
              </a:ext>
            </a:extLst>
          </p:cNvPr>
          <p:cNvPicPr>
            <a:picLocks noChangeAspect="1"/>
          </p:cNvPicPr>
          <p:nvPr/>
        </p:nvPicPr>
        <p:blipFill>
          <a:blip r:embed="rId8"/>
          <a:stretch>
            <a:fillRect/>
          </a:stretch>
        </p:blipFill>
        <p:spPr>
          <a:xfrm>
            <a:off x="4824539" y="4113764"/>
            <a:ext cx="3279292" cy="855303"/>
          </a:xfrm>
          <a:prstGeom prst="rect">
            <a:avLst/>
          </a:prstGeom>
          <a:ln>
            <a:solidFill>
              <a:schemeClr val="accent1"/>
            </a:solidFill>
          </a:ln>
        </p:spPr>
      </p:pic>
      <p:pic>
        <p:nvPicPr>
          <p:cNvPr id="22" name="Picture 21">
            <a:extLst>
              <a:ext uri="{FF2B5EF4-FFF2-40B4-BE49-F238E27FC236}">
                <a16:creationId xmlns:a16="http://schemas.microsoft.com/office/drawing/2014/main" id="{12EFB808-96E5-4693-919C-4FDDF25F97DA}"/>
              </a:ext>
            </a:extLst>
          </p:cNvPr>
          <p:cNvPicPr>
            <a:picLocks noChangeAspect="1"/>
          </p:cNvPicPr>
          <p:nvPr/>
        </p:nvPicPr>
        <p:blipFill>
          <a:blip r:embed="rId9"/>
          <a:stretch>
            <a:fillRect/>
          </a:stretch>
        </p:blipFill>
        <p:spPr>
          <a:xfrm>
            <a:off x="4807913" y="473398"/>
            <a:ext cx="2344403" cy="916722"/>
          </a:xfrm>
          <a:prstGeom prst="rect">
            <a:avLst/>
          </a:prstGeom>
          <a:ln>
            <a:solidFill>
              <a:schemeClr val="accent1"/>
            </a:solidFill>
          </a:ln>
        </p:spPr>
      </p:pic>
    </p:spTree>
    <p:extLst>
      <p:ext uri="{BB962C8B-B14F-4D97-AF65-F5344CB8AC3E}">
        <p14:creationId xmlns:p14="http://schemas.microsoft.com/office/powerpoint/2010/main" val="2068029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Journey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SF data entry</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674112"/>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Search objects</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360782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The who</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lnSpcReduction="1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Entry event setup</a:t>
            </a:r>
          </a:p>
          <a:p>
            <a:pPr marL="1257300" lvl="2" indent="-342900" algn="l">
              <a:buFont typeface="Arial" panose="020B0604020202020204" pitchFamily="34" charset="0"/>
              <a:buChar char="•"/>
            </a:pPr>
            <a:r>
              <a:rPr lang="en-US" sz="1800" dirty="0">
                <a:solidFill>
                  <a:srgbClr val="222222"/>
                </a:solidFill>
                <a:ea typeface="Helvetica Neue Light"/>
              </a:rPr>
              <a:t>Salesforce data vs other</a:t>
            </a:r>
          </a:p>
          <a:p>
            <a:pPr marL="457200" lvl="1" indent="0" algn="l"/>
            <a:r>
              <a:rPr lang="en-US" sz="1800" dirty="0">
                <a:solidFill>
                  <a:srgbClr val="222222"/>
                </a:solidFill>
                <a:ea typeface="Helvetica Neue Light"/>
              </a:rPr>
              <a:t>Object select</a:t>
            </a:r>
          </a:p>
          <a:p>
            <a:pPr marL="457200" lvl="1" indent="0" algn="l"/>
            <a:r>
              <a:rPr lang="en-US" sz="1800" dirty="0">
                <a:solidFill>
                  <a:srgbClr val="222222"/>
                </a:solidFill>
                <a:ea typeface="Helvetica Neue Light"/>
              </a:rPr>
              <a:t>The who</a:t>
            </a:r>
          </a:p>
          <a:p>
            <a:pPr marL="1200150" lvl="2" indent="-285750" algn="l">
              <a:buFont typeface="Arial" panose="020B0604020202020204" pitchFamily="34" charset="0"/>
              <a:buChar char="•"/>
            </a:pPr>
            <a:r>
              <a:rPr lang="en-US" sz="1800" dirty="0">
                <a:solidFill>
                  <a:srgbClr val="222222"/>
                </a:solidFill>
                <a:ea typeface="Helvetica Neue Light"/>
              </a:rPr>
              <a:t>Contact</a:t>
            </a:r>
          </a:p>
          <a:p>
            <a:pPr marL="1200150" lvl="2" indent="-285750" algn="l">
              <a:buFont typeface="Arial" panose="020B0604020202020204" pitchFamily="34" charset="0"/>
              <a:buChar char="•"/>
            </a:pPr>
            <a:r>
              <a:rPr lang="en-US" sz="1800" dirty="0">
                <a:solidFill>
                  <a:srgbClr val="222222"/>
                </a:solidFill>
                <a:ea typeface="Helvetica Neue Light"/>
              </a:rPr>
              <a:t>User</a:t>
            </a:r>
          </a:p>
          <a:p>
            <a:pPr marL="800100" lvl="1" indent="-342900">
              <a:buFont typeface="Arial" panose="020B0604020202020204" pitchFamily="34" charset="0"/>
              <a:buChar char="•"/>
            </a:pPr>
            <a:endParaRPr lang="en-US" sz="1800" dirty="0">
              <a:solidFill>
                <a:srgbClr val="222222"/>
              </a:solidFill>
              <a:ea typeface="Helvetica Neue Light"/>
            </a:endParaRP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Stick with SF data</a:t>
            </a:r>
          </a:p>
          <a:p>
            <a:pPr marL="1257300" lvl="2" indent="-342900" algn="l">
              <a:buFont typeface="Arial" panose="020B0604020202020204" pitchFamily="34" charset="0"/>
              <a:buChar char="•"/>
            </a:pPr>
            <a:r>
              <a:rPr lang="en-US" sz="1800" dirty="0">
                <a:solidFill>
                  <a:srgbClr val="222222"/>
                </a:solidFill>
                <a:ea typeface="Helvetica Neue Light"/>
              </a:rPr>
              <a:t>Child objects</a:t>
            </a:r>
          </a:p>
          <a:p>
            <a:pPr marL="1714500" lvl="3" indent="-342900" algn="l">
              <a:buFont typeface="Arial" panose="020B0604020202020204" pitchFamily="34" charset="0"/>
              <a:buChar char="•"/>
            </a:pPr>
            <a:r>
              <a:rPr lang="en-US" sz="1800" dirty="0">
                <a:solidFill>
                  <a:srgbClr val="222222"/>
                </a:solidFill>
                <a:ea typeface="Helvetica Neue Light"/>
              </a:rPr>
              <a:t>Campaign member</a:t>
            </a:r>
          </a:p>
          <a:p>
            <a:pPr marL="1714500" lvl="3" indent="-342900" algn="l">
              <a:buFont typeface="Arial" panose="020B0604020202020204" pitchFamily="34" charset="0"/>
              <a:buChar char="•"/>
            </a:pPr>
            <a:r>
              <a:rPr lang="en-US" sz="1800" dirty="0">
                <a:solidFill>
                  <a:srgbClr val="222222"/>
                </a:solidFill>
                <a:ea typeface="Helvetica Neue Light"/>
              </a:rPr>
              <a:t>Opportunity contact</a:t>
            </a:r>
          </a:p>
          <a:p>
            <a:pPr marL="1257300" lvl="2" indent="-342900" algn="l">
              <a:buFont typeface="Arial" panose="020B0604020202020204" pitchFamily="34" charset="0"/>
              <a:buChar char="•"/>
            </a:pPr>
            <a:r>
              <a:rPr lang="en-US" sz="1800" dirty="0">
                <a:solidFill>
                  <a:srgbClr val="222222"/>
                </a:solidFill>
                <a:ea typeface="Helvetica Neue Light"/>
              </a:rPr>
              <a:t>The details of the who</a:t>
            </a:r>
          </a:p>
        </p:txBody>
      </p:sp>
      <p:pic>
        <p:nvPicPr>
          <p:cNvPr id="15" name="Picture 14">
            <a:extLst>
              <a:ext uri="{FF2B5EF4-FFF2-40B4-BE49-F238E27FC236}">
                <a16:creationId xmlns:a16="http://schemas.microsoft.com/office/drawing/2014/main" id="{FB858154-0939-4A91-8DF4-C27C7738EB1B}"/>
              </a:ext>
            </a:extLst>
          </p:cNvPr>
          <p:cNvPicPr>
            <a:picLocks noChangeAspect="1"/>
          </p:cNvPicPr>
          <p:nvPr/>
        </p:nvPicPr>
        <p:blipFill>
          <a:blip r:embed="rId6"/>
          <a:stretch>
            <a:fillRect/>
          </a:stretch>
        </p:blipFill>
        <p:spPr>
          <a:xfrm>
            <a:off x="4799600" y="445597"/>
            <a:ext cx="3404285" cy="1169646"/>
          </a:xfrm>
          <a:prstGeom prst="rect">
            <a:avLst/>
          </a:prstGeom>
          <a:ln>
            <a:solidFill>
              <a:schemeClr val="accent1"/>
            </a:solidFill>
          </a:ln>
        </p:spPr>
      </p:pic>
      <p:pic>
        <p:nvPicPr>
          <p:cNvPr id="16" name="Picture 15">
            <a:extLst>
              <a:ext uri="{FF2B5EF4-FFF2-40B4-BE49-F238E27FC236}">
                <a16:creationId xmlns:a16="http://schemas.microsoft.com/office/drawing/2014/main" id="{54339768-F41E-43BF-9B2E-2F399AE73C5B}"/>
              </a:ext>
            </a:extLst>
          </p:cNvPr>
          <p:cNvPicPr>
            <a:picLocks noChangeAspect="1"/>
          </p:cNvPicPr>
          <p:nvPr/>
        </p:nvPicPr>
        <p:blipFill>
          <a:blip r:embed="rId7"/>
          <a:stretch>
            <a:fillRect/>
          </a:stretch>
        </p:blipFill>
        <p:spPr>
          <a:xfrm>
            <a:off x="4800042" y="1950262"/>
            <a:ext cx="2808886" cy="1638517"/>
          </a:xfrm>
          <a:prstGeom prst="rect">
            <a:avLst/>
          </a:prstGeom>
          <a:ln>
            <a:solidFill>
              <a:schemeClr val="accent1"/>
            </a:solidFill>
          </a:ln>
        </p:spPr>
      </p:pic>
      <p:pic>
        <p:nvPicPr>
          <p:cNvPr id="17" name="Picture 16">
            <a:extLst>
              <a:ext uri="{FF2B5EF4-FFF2-40B4-BE49-F238E27FC236}">
                <a16:creationId xmlns:a16="http://schemas.microsoft.com/office/drawing/2014/main" id="{151AFD66-FE08-4D10-A1EC-8AC9980A6885}"/>
              </a:ext>
            </a:extLst>
          </p:cNvPr>
          <p:cNvPicPr>
            <a:picLocks noChangeAspect="1"/>
          </p:cNvPicPr>
          <p:nvPr/>
        </p:nvPicPr>
        <p:blipFill>
          <a:blip r:embed="rId8"/>
          <a:stretch>
            <a:fillRect/>
          </a:stretch>
        </p:blipFill>
        <p:spPr>
          <a:xfrm>
            <a:off x="4801470" y="3923798"/>
            <a:ext cx="1951496" cy="1172504"/>
          </a:xfrm>
          <a:prstGeom prst="rect">
            <a:avLst/>
          </a:prstGeom>
          <a:ln>
            <a:solidFill>
              <a:schemeClr val="accent1"/>
            </a:solidFill>
          </a:ln>
        </p:spPr>
      </p:pic>
    </p:spTree>
    <p:extLst>
      <p:ext uri="{BB962C8B-B14F-4D97-AF65-F5344CB8AC3E}">
        <p14:creationId xmlns:p14="http://schemas.microsoft.com/office/powerpoint/2010/main" val="1999444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Journey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Primary-related criteria</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674112"/>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Data fields</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360782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Summary</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lnSpcReduction="1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Criteria</a:t>
            </a:r>
          </a:p>
          <a:p>
            <a:pPr marL="1257300" lvl="2" indent="-342900" algn="l">
              <a:buFont typeface="Arial" panose="020B0604020202020204" pitchFamily="34" charset="0"/>
              <a:buChar char="•"/>
            </a:pPr>
            <a:r>
              <a:rPr lang="en-US" sz="1800" dirty="0">
                <a:solidFill>
                  <a:srgbClr val="222222"/>
                </a:solidFill>
                <a:ea typeface="Helvetica Neue Light"/>
              </a:rPr>
              <a:t>Created and updated</a:t>
            </a:r>
          </a:p>
          <a:p>
            <a:pPr marL="457200" lvl="1" indent="0" algn="l"/>
            <a:r>
              <a:rPr lang="en-US" sz="1800" dirty="0">
                <a:solidFill>
                  <a:srgbClr val="222222"/>
                </a:solidFill>
                <a:ea typeface="Helvetica Neue Light"/>
              </a:rPr>
              <a:t>Primary vs related objects</a:t>
            </a:r>
          </a:p>
          <a:p>
            <a:pPr marL="1200150" lvl="2" indent="-285750" algn="l">
              <a:buFont typeface="Arial" panose="020B0604020202020204" pitchFamily="34" charset="0"/>
              <a:buChar char="•"/>
            </a:pPr>
            <a:r>
              <a:rPr lang="en-US" sz="1800" dirty="0">
                <a:solidFill>
                  <a:srgbClr val="222222"/>
                </a:solidFill>
                <a:ea typeface="Helvetica Neue Light"/>
              </a:rPr>
              <a:t>Lookup and formula fields</a:t>
            </a:r>
          </a:p>
          <a:p>
            <a:pPr marL="457200" lvl="1" indent="0" algn="l"/>
            <a:r>
              <a:rPr lang="en-US" sz="1800" dirty="0">
                <a:solidFill>
                  <a:srgbClr val="222222"/>
                </a:solidFill>
                <a:ea typeface="Helvetica Neue Light"/>
              </a:rPr>
              <a:t>Data</a:t>
            </a:r>
          </a:p>
          <a:p>
            <a:pPr marL="1200150" lvl="2" indent="-285750" algn="l">
              <a:buFont typeface="Arial" panose="020B0604020202020204" pitchFamily="34" charset="0"/>
              <a:buChar char="•"/>
            </a:pPr>
            <a:r>
              <a:rPr lang="en-US" sz="1800" dirty="0">
                <a:solidFill>
                  <a:srgbClr val="222222"/>
                </a:solidFill>
                <a:ea typeface="Helvetica Neue Light"/>
              </a:rPr>
              <a:t>Default fields</a:t>
            </a:r>
          </a:p>
          <a:p>
            <a:pPr marL="1200150" lvl="2" indent="-285750" algn="l">
              <a:buFont typeface="Arial" panose="020B0604020202020204" pitchFamily="34" charset="0"/>
              <a:buChar char="•"/>
            </a:pPr>
            <a:r>
              <a:rPr lang="en-US" sz="1800" dirty="0">
                <a:solidFill>
                  <a:srgbClr val="222222"/>
                </a:solidFill>
                <a:ea typeface="Helvetica Neue Light"/>
              </a:rPr>
              <a:t>Object fields</a:t>
            </a:r>
          </a:p>
          <a:p>
            <a:pPr marL="800100" lvl="1" indent="-342900">
              <a:buFont typeface="Arial" panose="020B0604020202020204" pitchFamily="34" charset="0"/>
              <a:buChar char="•"/>
            </a:pPr>
            <a:endParaRPr lang="en-US" sz="1800" dirty="0">
              <a:solidFill>
                <a:srgbClr val="222222"/>
              </a:solidFill>
              <a:ea typeface="Helvetica Neue Light"/>
            </a:endParaRP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Created/updated triggers</a:t>
            </a:r>
          </a:p>
          <a:p>
            <a:pPr marL="1257300" lvl="2" indent="-342900" algn="l">
              <a:buFont typeface="Arial" panose="020B0604020202020204" pitchFamily="34" charset="0"/>
              <a:buChar char="•"/>
            </a:pPr>
            <a:r>
              <a:rPr lang="en-US" sz="1800" dirty="0" err="1">
                <a:solidFill>
                  <a:srgbClr val="222222"/>
                </a:solidFill>
                <a:ea typeface="Helvetica Neue Light"/>
              </a:rPr>
              <a:t>And/Or</a:t>
            </a:r>
            <a:r>
              <a:rPr lang="en-US" sz="1800" dirty="0">
                <a:solidFill>
                  <a:srgbClr val="222222"/>
                </a:solidFill>
                <a:ea typeface="Helvetica Neue Light"/>
              </a:rPr>
              <a:t> selectors</a:t>
            </a:r>
          </a:p>
          <a:p>
            <a:pPr marL="1257300" lvl="2" indent="-342900" algn="l">
              <a:buFont typeface="Arial" panose="020B0604020202020204" pitchFamily="34" charset="0"/>
              <a:buChar char="•"/>
            </a:pPr>
            <a:r>
              <a:rPr lang="en-US" sz="1800" dirty="0">
                <a:solidFill>
                  <a:srgbClr val="222222"/>
                </a:solidFill>
                <a:ea typeface="Helvetica Neue Light"/>
              </a:rPr>
              <a:t>Field name varieties</a:t>
            </a:r>
          </a:p>
        </p:txBody>
      </p:sp>
      <p:pic>
        <p:nvPicPr>
          <p:cNvPr id="18" name="Picture 17">
            <a:extLst>
              <a:ext uri="{FF2B5EF4-FFF2-40B4-BE49-F238E27FC236}">
                <a16:creationId xmlns:a16="http://schemas.microsoft.com/office/drawing/2014/main" id="{5A997B37-E1F8-452C-9555-4C870BAB81A7}"/>
              </a:ext>
            </a:extLst>
          </p:cNvPr>
          <p:cNvPicPr>
            <a:picLocks noChangeAspect="1"/>
          </p:cNvPicPr>
          <p:nvPr/>
        </p:nvPicPr>
        <p:blipFill>
          <a:blip r:embed="rId6"/>
          <a:stretch>
            <a:fillRect/>
          </a:stretch>
        </p:blipFill>
        <p:spPr>
          <a:xfrm>
            <a:off x="4797018" y="458844"/>
            <a:ext cx="4193821" cy="1145512"/>
          </a:xfrm>
          <a:prstGeom prst="rect">
            <a:avLst/>
          </a:prstGeom>
          <a:ln>
            <a:solidFill>
              <a:schemeClr val="accent1"/>
            </a:solidFill>
          </a:ln>
        </p:spPr>
      </p:pic>
      <p:pic>
        <p:nvPicPr>
          <p:cNvPr id="19" name="Picture 18">
            <a:extLst>
              <a:ext uri="{FF2B5EF4-FFF2-40B4-BE49-F238E27FC236}">
                <a16:creationId xmlns:a16="http://schemas.microsoft.com/office/drawing/2014/main" id="{442D12A3-142A-4095-A23A-5ABC59F9344A}"/>
              </a:ext>
            </a:extLst>
          </p:cNvPr>
          <p:cNvPicPr>
            <a:picLocks noChangeAspect="1"/>
          </p:cNvPicPr>
          <p:nvPr/>
        </p:nvPicPr>
        <p:blipFill>
          <a:blip r:embed="rId7"/>
          <a:stretch>
            <a:fillRect/>
          </a:stretch>
        </p:blipFill>
        <p:spPr>
          <a:xfrm>
            <a:off x="4807913" y="1943347"/>
            <a:ext cx="4067901" cy="1595798"/>
          </a:xfrm>
          <a:prstGeom prst="rect">
            <a:avLst/>
          </a:prstGeom>
          <a:ln>
            <a:solidFill>
              <a:schemeClr val="accent1"/>
            </a:solidFill>
          </a:ln>
        </p:spPr>
      </p:pic>
      <p:pic>
        <p:nvPicPr>
          <p:cNvPr id="20" name="Picture 19">
            <a:extLst>
              <a:ext uri="{FF2B5EF4-FFF2-40B4-BE49-F238E27FC236}">
                <a16:creationId xmlns:a16="http://schemas.microsoft.com/office/drawing/2014/main" id="{54B0A98D-C6AA-4D8C-ADDB-DF95BDF4B1EB}"/>
              </a:ext>
            </a:extLst>
          </p:cNvPr>
          <p:cNvPicPr>
            <a:picLocks noChangeAspect="1"/>
          </p:cNvPicPr>
          <p:nvPr/>
        </p:nvPicPr>
        <p:blipFill>
          <a:blip r:embed="rId8"/>
          <a:stretch>
            <a:fillRect/>
          </a:stretch>
        </p:blipFill>
        <p:spPr>
          <a:xfrm>
            <a:off x="4807913" y="3925953"/>
            <a:ext cx="3407821" cy="1024545"/>
          </a:xfrm>
          <a:prstGeom prst="rect">
            <a:avLst/>
          </a:prstGeom>
          <a:ln>
            <a:solidFill>
              <a:schemeClr val="accent1"/>
            </a:solidFill>
          </a:ln>
        </p:spPr>
      </p:pic>
    </p:spTree>
    <p:extLst>
      <p:ext uri="{BB962C8B-B14F-4D97-AF65-F5344CB8AC3E}">
        <p14:creationId xmlns:p14="http://schemas.microsoft.com/office/powerpoint/2010/main" val="4097975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extLst>
              <p:ext uri="{D42A27DB-BD31-4B8C-83A1-F6EECF244321}">
                <p14:modId xmlns:p14="http://schemas.microsoft.com/office/powerpoint/2010/main" val="2764035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4" name="Google Shape;404;p52"/>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fontScale="85000" lnSpcReduction="20000"/>
          </a:bodyPr>
          <a:lstStyle/>
          <a:p>
            <a:r>
              <a:rPr lang="en-US" sz="2000" dirty="0">
                <a:solidFill>
                  <a:srgbClr val="222222"/>
                </a:solidFill>
                <a:ea typeface="Helvetica Neue Light"/>
              </a:rPr>
              <a:t>Overview </a:t>
            </a:r>
          </a:p>
          <a:p>
            <a:pPr marL="800100" lvl="1" indent="-342900">
              <a:buFont typeface="Arial" panose="020B0604020202020204" pitchFamily="34" charset="0"/>
              <a:buChar char="•"/>
            </a:pPr>
            <a:r>
              <a:rPr lang="en-US" sz="2000" dirty="0">
                <a:solidFill>
                  <a:srgbClr val="222222"/>
                </a:solidFill>
                <a:ea typeface="Helvetica Neue Light"/>
              </a:rPr>
              <a:t>Case Study </a:t>
            </a:r>
          </a:p>
          <a:p>
            <a:pPr marL="800100" lvl="1" indent="-342900">
              <a:buFont typeface="Arial" panose="020B0604020202020204" pitchFamily="34" charset="0"/>
              <a:buChar char="•"/>
            </a:pPr>
            <a:r>
              <a:rPr lang="en-US" sz="2000" dirty="0" err="1">
                <a:solidFill>
                  <a:srgbClr val="222222"/>
                </a:solidFill>
                <a:ea typeface="Helvetica Neue Light"/>
              </a:rPr>
              <a:t>Martech</a:t>
            </a:r>
            <a:r>
              <a:rPr lang="en-US" sz="2000" dirty="0">
                <a:solidFill>
                  <a:srgbClr val="222222"/>
                </a:solidFill>
                <a:ea typeface="Helvetica Neue Light"/>
              </a:rPr>
              <a:t> tools</a:t>
            </a:r>
          </a:p>
          <a:p>
            <a:pPr marL="800100" lvl="1" indent="-342900">
              <a:buFont typeface="Arial" panose="020B0604020202020204" pitchFamily="34" charset="0"/>
              <a:buChar char="•"/>
            </a:pPr>
            <a:r>
              <a:rPr lang="en-US" sz="2000" dirty="0">
                <a:solidFill>
                  <a:srgbClr val="222222"/>
                </a:solidFill>
                <a:ea typeface="Helvetica Neue Light"/>
              </a:rPr>
              <a:t>Salesforce CRM </a:t>
            </a:r>
          </a:p>
          <a:p>
            <a:pPr marL="800100" lvl="1" indent="-342900">
              <a:buFont typeface="Arial" panose="020B0604020202020204" pitchFamily="34" charset="0"/>
              <a:buChar char="•"/>
            </a:pPr>
            <a:endParaRPr lang="en-US" sz="2000" dirty="0">
              <a:solidFill>
                <a:srgbClr val="222222"/>
              </a:solidFill>
              <a:ea typeface="Helvetica Neue Light"/>
            </a:endParaRPr>
          </a:p>
          <a:p>
            <a:r>
              <a:rPr lang="en-US" sz="2000" dirty="0">
                <a:solidFill>
                  <a:srgbClr val="222222"/>
                </a:solidFill>
                <a:ea typeface="Helvetica Neue Light"/>
              </a:rPr>
              <a:t>Journey Builder</a:t>
            </a:r>
          </a:p>
          <a:p>
            <a:pPr marL="800100" lvl="1" indent="-342900">
              <a:buFont typeface="Arial" panose="020B0604020202020204" pitchFamily="34" charset="0"/>
              <a:buChar char="•"/>
            </a:pPr>
            <a:r>
              <a:rPr lang="en-US" sz="2000" dirty="0">
                <a:solidFill>
                  <a:srgbClr val="222222"/>
                </a:solidFill>
                <a:ea typeface="Helvetica Neue Light"/>
              </a:rPr>
              <a:t>Entry Event x 2</a:t>
            </a:r>
          </a:p>
          <a:p>
            <a:pPr marL="800100" lvl="1" indent="-342900">
              <a:buFont typeface="Arial" panose="020B0604020202020204" pitchFamily="34" charset="0"/>
              <a:buChar char="•"/>
            </a:pPr>
            <a:r>
              <a:rPr lang="en-US" sz="2000" dirty="0">
                <a:solidFill>
                  <a:srgbClr val="222222"/>
                </a:solidFill>
                <a:ea typeface="Helvetica Neue Light"/>
              </a:rPr>
              <a:t>Activities </a:t>
            </a:r>
          </a:p>
          <a:p>
            <a:pPr marL="1257300" lvl="2" indent="-342900">
              <a:buFont typeface="Arial" panose="020B0604020202020204" pitchFamily="34" charset="0"/>
              <a:buChar char="•"/>
            </a:pPr>
            <a:r>
              <a:rPr lang="en-US" sz="2000" dirty="0">
                <a:solidFill>
                  <a:srgbClr val="222222"/>
                </a:solidFill>
                <a:ea typeface="Helvetica Neue Light"/>
              </a:rPr>
              <a:t>Decision splits</a:t>
            </a:r>
          </a:p>
          <a:p>
            <a:pPr marL="1257300" lvl="2" indent="-342900">
              <a:buFont typeface="Arial" panose="020B0604020202020204" pitchFamily="34" charset="0"/>
              <a:buChar char="•"/>
            </a:pPr>
            <a:r>
              <a:rPr lang="en-US" sz="2000" dirty="0">
                <a:solidFill>
                  <a:srgbClr val="222222"/>
                </a:solidFill>
                <a:ea typeface="Helvetica Neue Light"/>
              </a:rPr>
              <a:t>Object activity</a:t>
            </a:r>
          </a:p>
          <a:p>
            <a:pPr marL="800100" lvl="1" indent="-342900">
              <a:buFont typeface="Arial" panose="020B0604020202020204" pitchFamily="34" charset="0"/>
              <a:buChar char="•"/>
            </a:pPr>
            <a:r>
              <a:rPr lang="en-US" sz="2000" dirty="0">
                <a:solidFill>
                  <a:srgbClr val="222222"/>
                </a:solidFill>
                <a:ea typeface="Helvetica Neue Light"/>
              </a:rPr>
              <a:t>Content</a:t>
            </a:r>
            <a:br>
              <a:rPr lang="en-US" sz="2000" dirty="0">
                <a:solidFill>
                  <a:srgbClr val="222222"/>
                </a:solidFill>
                <a:ea typeface="Helvetica Neue Light"/>
              </a:rPr>
            </a:br>
            <a:endParaRPr lang="en-US" sz="2000" dirty="0">
              <a:solidFill>
                <a:srgbClr val="222222"/>
              </a:solidFill>
              <a:ea typeface="Helvetica Neue Light"/>
            </a:endParaRPr>
          </a:p>
          <a:p>
            <a:r>
              <a:rPr lang="en-US" sz="2000" dirty="0">
                <a:solidFill>
                  <a:srgbClr val="222222"/>
                </a:solidFill>
                <a:ea typeface="Helvetica Neue Light"/>
              </a:rPr>
              <a:t>Q&amp;A</a:t>
            </a:r>
          </a:p>
          <a:p>
            <a:pPr marL="0" lvl="0" indent="0" algn="l" rtl="0">
              <a:spcBef>
                <a:spcPts val="0"/>
              </a:spcBef>
              <a:spcAft>
                <a:spcPts val="1200"/>
              </a:spcAft>
              <a:buNone/>
            </a:pPr>
            <a:endParaRPr dirty="0"/>
          </a:p>
        </p:txBody>
      </p:sp>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Agenda</a:t>
            </a:r>
            <a:endParaRPr dirty="0"/>
          </a:p>
        </p:txBody>
      </p:sp>
      <p:pic>
        <p:nvPicPr>
          <p:cNvPr id="7" name="Picture 6">
            <a:extLst>
              <a:ext uri="{FF2B5EF4-FFF2-40B4-BE49-F238E27FC236}">
                <a16:creationId xmlns:a16="http://schemas.microsoft.com/office/drawing/2014/main" id="{8E015864-3EB8-4B15-ADCA-CDF8E76A31D0}"/>
              </a:ext>
            </a:extLst>
          </p:cNvPr>
          <p:cNvPicPr>
            <a:picLocks noChangeAspect="1"/>
          </p:cNvPicPr>
          <p:nvPr/>
        </p:nvPicPr>
        <p:blipFill>
          <a:blip r:embed="rId6"/>
          <a:stretch>
            <a:fillRect/>
          </a:stretch>
        </p:blipFill>
        <p:spPr>
          <a:xfrm>
            <a:off x="4656917" y="3216715"/>
            <a:ext cx="2550164" cy="1165342"/>
          </a:xfrm>
          <a:prstGeom prst="rect">
            <a:avLst/>
          </a:prstGeom>
          <a:ln>
            <a:solidFill>
              <a:schemeClr val="accent1"/>
            </a:solidFill>
          </a:ln>
        </p:spPr>
      </p:pic>
      <p:pic>
        <p:nvPicPr>
          <p:cNvPr id="8" name="Picture 7">
            <a:extLst>
              <a:ext uri="{FF2B5EF4-FFF2-40B4-BE49-F238E27FC236}">
                <a16:creationId xmlns:a16="http://schemas.microsoft.com/office/drawing/2014/main" id="{D10A43F0-1C2E-41DC-90C5-4E7336161C66}"/>
              </a:ext>
            </a:extLst>
          </p:cNvPr>
          <p:cNvPicPr>
            <a:picLocks noChangeAspect="1"/>
          </p:cNvPicPr>
          <p:nvPr/>
        </p:nvPicPr>
        <p:blipFill>
          <a:blip r:embed="rId7"/>
          <a:stretch>
            <a:fillRect/>
          </a:stretch>
        </p:blipFill>
        <p:spPr>
          <a:xfrm>
            <a:off x="7340882" y="3246101"/>
            <a:ext cx="1555885" cy="1094268"/>
          </a:xfrm>
          <a:prstGeom prst="rect">
            <a:avLst/>
          </a:prstGeom>
          <a:ln>
            <a:solidFill>
              <a:schemeClr val="accent1"/>
            </a:solidFill>
          </a:ln>
        </p:spPr>
      </p:pic>
      <p:pic>
        <p:nvPicPr>
          <p:cNvPr id="9" name="Picture 8">
            <a:extLst>
              <a:ext uri="{FF2B5EF4-FFF2-40B4-BE49-F238E27FC236}">
                <a16:creationId xmlns:a16="http://schemas.microsoft.com/office/drawing/2014/main" id="{BC4AE565-909D-4135-9745-3DBE3756A269}"/>
              </a:ext>
            </a:extLst>
          </p:cNvPr>
          <p:cNvPicPr>
            <a:picLocks noChangeAspect="1"/>
          </p:cNvPicPr>
          <p:nvPr/>
        </p:nvPicPr>
        <p:blipFill>
          <a:blip r:embed="rId8"/>
          <a:stretch>
            <a:fillRect/>
          </a:stretch>
        </p:blipFill>
        <p:spPr>
          <a:xfrm>
            <a:off x="8071658" y="4558133"/>
            <a:ext cx="383064" cy="454625"/>
          </a:xfrm>
          <a:prstGeom prst="rect">
            <a:avLst/>
          </a:prstGeom>
        </p:spPr>
      </p:pic>
      <p:pic>
        <p:nvPicPr>
          <p:cNvPr id="10" name="Picture 9">
            <a:extLst>
              <a:ext uri="{FF2B5EF4-FFF2-40B4-BE49-F238E27FC236}">
                <a16:creationId xmlns:a16="http://schemas.microsoft.com/office/drawing/2014/main" id="{09847967-E9EA-48F7-968F-F991191FFC7D}"/>
              </a:ext>
            </a:extLst>
          </p:cNvPr>
          <p:cNvPicPr>
            <a:picLocks noChangeAspect="1"/>
          </p:cNvPicPr>
          <p:nvPr/>
        </p:nvPicPr>
        <p:blipFill>
          <a:blip r:embed="rId9"/>
          <a:stretch>
            <a:fillRect/>
          </a:stretch>
        </p:blipFill>
        <p:spPr>
          <a:xfrm>
            <a:off x="6507362" y="4526303"/>
            <a:ext cx="700123" cy="454625"/>
          </a:xfrm>
          <a:prstGeom prst="rect">
            <a:avLst/>
          </a:prstGeom>
        </p:spPr>
      </p:pic>
      <p:pic>
        <p:nvPicPr>
          <p:cNvPr id="11" name="Picture 10">
            <a:extLst>
              <a:ext uri="{FF2B5EF4-FFF2-40B4-BE49-F238E27FC236}">
                <a16:creationId xmlns:a16="http://schemas.microsoft.com/office/drawing/2014/main" id="{2C428255-B389-4717-A6CD-360346642212}"/>
              </a:ext>
            </a:extLst>
          </p:cNvPr>
          <p:cNvPicPr>
            <a:picLocks noChangeAspect="1"/>
          </p:cNvPicPr>
          <p:nvPr/>
        </p:nvPicPr>
        <p:blipFill>
          <a:blip r:embed="rId10"/>
          <a:stretch>
            <a:fillRect/>
          </a:stretch>
        </p:blipFill>
        <p:spPr>
          <a:xfrm>
            <a:off x="5862242" y="4552157"/>
            <a:ext cx="471589" cy="454625"/>
          </a:xfrm>
          <a:prstGeom prst="rect">
            <a:avLst/>
          </a:prstGeom>
        </p:spPr>
      </p:pic>
      <p:pic>
        <p:nvPicPr>
          <p:cNvPr id="12" name="Picture 11">
            <a:extLst>
              <a:ext uri="{FF2B5EF4-FFF2-40B4-BE49-F238E27FC236}">
                <a16:creationId xmlns:a16="http://schemas.microsoft.com/office/drawing/2014/main" id="{3FB33E61-9E13-4EAF-A4FD-63AFF1347580}"/>
              </a:ext>
            </a:extLst>
          </p:cNvPr>
          <p:cNvPicPr>
            <a:picLocks noChangeAspect="1"/>
          </p:cNvPicPr>
          <p:nvPr/>
        </p:nvPicPr>
        <p:blipFill>
          <a:blip r:embed="rId11"/>
          <a:stretch>
            <a:fillRect/>
          </a:stretch>
        </p:blipFill>
        <p:spPr>
          <a:xfrm>
            <a:off x="7376338" y="4519963"/>
            <a:ext cx="526467" cy="457583"/>
          </a:xfrm>
          <a:prstGeom prst="rect">
            <a:avLst/>
          </a:prstGeom>
        </p:spPr>
      </p:pic>
      <p:sp>
        <p:nvSpPr>
          <p:cNvPr id="13" name="Rectangle 12">
            <a:extLst>
              <a:ext uri="{FF2B5EF4-FFF2-40B4-BE49-F238E27FC236}">
                <a16:creationId xmlns:a16="http://schemas.microsoft.com/office/drawing/2014/main" id="{A248E514-09E1-41DA-BA3D-93BE74547308}"/>
              </a:ext>
            </a:extLst>
          </p:cNvPr>
          <p:cNvSpPr/>
          <p:nvPr/>
        </p:nvSpPr>
        <p:spPr>
          <a:xfrm>
            <a:off x="4811386" y="1157468"/>
            <a:ext cx="4119931" cy="374054"/>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r"/>
            <a:r>
              <a:rPr lang="en-US" sz="2000" dirty="0">
                <a:solidFill>
                  <a:srgbClr val="222222"/>
                </a:solidFill>
                <a:ea typeface="Helvetica Neue Light"/>
              </a:rPr>
              <a:t>Platforms/Tools</a:t>
            </a:r>
          </a:p>
          <a:p>
            <a:endParaRPr lang="en-US" sz="2000" dirty="0">
              <a:solidFill>
                <a:srgbClr val="222222"/>
              </a:solidFill>
              <a:ea typeface="Helvetica Neue Light"/>
            </a:endParaRPr>
          </a:p>
          <a:p>
            <a:endParaRPr lang="en-US" sz="1400" dirty="0">
              <a:solidFill>
                <a:srgbClr val="222222"/>
              </a:solidFill>
              <a:ea typeface="Helvetica Neue Light"/>
            </a:endParaRPr>
          </a:p>
        </p:txBody>
      </p:sp>
      <p:pic>
        <p:nvPicPr>
          <p:cNvPr id="14" name="Picture 2">
            <a:extLst>
              <a:ext uri="{FF2B5EF4-FFF2-40B4-BE49-F238E27FC236}">
                <a16:creationId xmlns:a16="http://schemas.microsoft.com/office/drawing/2014/main" id="{7D9CA88A-4F41-4D29-AFD4-A7881136650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67597" y="1746431"/>
            <a:ext cx="1436372" cy="28097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1C3AE1BE-EF88-4A79-91BB-3C0FE0F6BBB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96114" y="1795364"/>
            <a:ext cx="1435203" cy="23203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C3685456-4753-4305-9A94-A5107B0C0282}"/>
              </a:ext>
            </a:extLst>
          </p:cNvPr>
          <p:cNvPicPr>
            <a:picLocks noChangeAspect="1"/>
          </p:cNvPicPr>
          <p:nvPr/>
        </p:nvPicPr>
        <p:blipFill>
          <a:blip r:embed="rId14"/>
          <a:stretch>
            <a:fillRect/>
          </a:stretch>
        </p:blipFill>
        <p:spPr>
          <a:xfrm>
            <a:off x="4613994" y="1574650"/>
            <a:ext cx="1318005" cy="924011"/>
          </a:xfrm>
          <a:prstGeom prst="rect">
            <a:avLst/>
          </a:prstGeom>
        </p:spPr>
      </p:pic>
      <p:sp>
        <p:nvSpPr>
          <p:cNvPr id="17" name="Rectangle 16">
            <a:extLst>
              <a:ext uri="{FF2B5EF4-FFF2-40B4-BE49-F238E27FC236}">
                <a16:creationId xmlns:a16="http://schemas.microsoft.com/office/drawing/2014/main" id="{917056D2-E4ED-4344-A14B-C1009CC68A12}"/>
              </a:ext>
            </a:extLst>
          </p:cNvPr>
          <p:cNvSpPr/>
          <p:nvPr/>
        </p:nvSpPr>
        <p:spPr>
          <a:xfrm>
            <a:off x="4811386" y="2616923"/>
            <a:ext cx="4119931" cy="374054"/>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r"/>
            <a:r>
              <a:rPr lang="en-US" sz="2000" dirty="0">
                <a:solidFill>
                  <a:srgbClr val="222222"/>
                </a:solidFill>
                <a:ea typeface="Helvetica Neue Light"/>
              </a:rPr>
              <a:t>Custom Journeys</a:t>
            </a:r>
          </a:p>
          <a:p>
            <a:endParaRPr lang="en-US" sz="2000" dirty="0">
              <a:solidFill>
                <a:srgbClr val="222222"/>
              </a:solidFill>
              <a:ea typeface="Helvetica Neue Light"/>
            </a:endParaRPr>
          </a:p>
          <a:p>
            <a:endParaRPr lang="en-US" sz="1400" dirty="0">
              <a:solidFill>
                <a:srgbClr val="222222"/>
              </a:solidFill>
              <a:ea typeface="Helvetica Neue Light"/>
            </a:endParaRPr>
          </a:p>
        </p:txBody>
      </p:sp>
      <p:pic>
        <p:nvPicPr>
          <p:cNvPr id="19" name="Picture 4">
            <a:extLst>
              <a:ext uri="{FF2B5EF4-FFF2-40B4-BE49-F238E27FC236}">
                <a16:creationId xmlns:a16="http://schemas.microsoft.com/office/drawing/2014/main" id="{2B526DD7-B2C7-4174-BACC-DAC6E0DA5A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81207" y="2041924"/>
            <a:ext cx="1613257" cy="33847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Journey Buil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Canvas build</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51976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Lead create/update - test</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2892917"/>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Flow</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Canvas build</a:t>
            </a:r>
          </a:p>
          <a:p>
            <a:pPr marL="457200" lvl="1" indent="0" algn="l"/>
            <a:r>
              <a:rPr lang="en-US" sz="1800" dirty="0">
                <a:solidFill>
                  <a:srgbClr val="222222"/>
                </a:solidFill>
                <a:ea typeface="Helvetica Neue Light"/>
              </a:rPr>
              <a:t>New lead test</a:t>
            </a:r>
          </a:p>
          <a:p>
            <a:pPr marL="457200" lvl="1" indent="0" algn="l"/>
            <a:r>
              <a:rPr lang="en-US" sz="1800" dirty="0">
                <a:solidFill>
                  <a:srgbClr val="222222"/>
                </a:solidFill>
                <a:ea typeface="Helvetica Neue Light"/>
              </a:rPr>
              <a:t>Validate data</a:t>
            </a:r>
          </a:p>
          <a:p>
            <a:pPr marL="1257300" lvl="2" indent="-342900" algn="l">
              <a:buFont typeface="Arial" panose="020B0604020202020204" pitchFamily="34" charset="0"/>
              <a:buChar char="•"/>
            </a:pPr>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1257300" lvl="2" indent="-342900" algn="l">
              <a:buFont typeface="Arial" panose="020B0604020202020204" pitchFamily="34" charset="0"/>
              <a:buChar char="•"/>
            </a:pPr>
            <a:r>
              <a:rPr lang="en-US" sz="1800" dirty="0">
                <a:solidFill>
                  <a:srgbClr val="222222"/>
                </a:solidFill>
                <a:ea typeface="Helvetica Neue Light"/>
              </a:rPr>
              <a:t>Create leads all fields </a:t>
            </a:r>
          </a:p>
          <a:p>
            <a:pPr marL="1257300" lvl="2" indent="-342900" algn="l">
              <a:buFont typeface="Arial" panose="020B0604020202020204" pitchFamily="34" charset="0"/>
              <a:buChar char="•"/>
            </a:pPr>
            <a:r>
              <a:rPr lang="en-US" sz="1800" dirty="0">
                <a:solidFill>
                  <a:srgbClr val="222222"/>
                </a:solidFill>
                <a:ea typeface="Helvetica Neue Light"/>
              </a:rPr>
              <a:t>DE location</a:t>
            </a:r>
          </a:p>
        </p:txBody>
      </p:sp>
      <p:sp>
        <p:nvSpPr>
          <p:cNvPr id="18" name="Google Shape;404;p52">
            <a:extLst>
              <a:ext uri="{FF2B5EF4-FFF2-40B4-BE49-F238E27FC236}">
                <a16:creationId xmlns:a16="http://schemas.microsoft.com/office/drawing/2014/main" id="{88842240-96D2-442A-9FDA-836D12ADFEA2}"/>
              </a:ext>
            </a:extLst>
          </p:cNvPr>
          <p:cNvSpPr txBox="1">
            <a:spLocks/>
          </p:cNvSpPr>
          <p:nvPr/>
        </p:nvSpPr>
        <p:spPr>
          <a:xfrm>
            <a:off x="4280111" y="4240288"/>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Data</a:t>
            </a:r>
          </a:p>
        </p:txBody>
      </p:sp>
      <p:pic>
        <p:nvPicPr>
          <p:cNvPr id="15" name="Picture 14">
            <a:extLst>
              <a:ext uri="{FF2B5EF4-FFF2-40B4-BE49-F238E27FC236}">
                <a16:creationId xmlns:a16="http://schemas.microsoft.com/office/drawing/2014/main" id="{3E4BA8CA-FEF3-4E7F-9FC9-01F1D38BE55F}"/>
              </a:ext>
            </a:extLst>
          </p:cNvPr>
          <p:cNvPicPr>
            <a:picLocks noChangeAspect="1"/>
          </p:cNvPicPr>
          <p:nvPr/>
        </p:nvPicPr>
        <p:blipFill>
          <a:blip r:embed="rId6"/>
          <a:stretch>
            <a:fillRect/>
          </a:stretch>
        </p:blipFill>
        <p:spPr>
          <a:xfrm>
            <a:off x="4799600" y="437628"/>
            <a:ext cx="2441703" cy="1070814"/>
          </a:xfrm>
          <a:prstGeom prst="rect">
            <a:avLst/>
          </a:prstGeom>
          <a:ln>
            <a:solidFill>
              <a:schemeClr val="accent1"/>
            </a:solidFill>
          </a:ln>
        </p:spPr>
      </p:pic>
      <p:pic>
        <p:nvPicPr>
          <p:cNvPr id="16" name="Picture 15">
            <a:extLst>
              <a:ext uri="{FF2B5EF4-FFF2-40B4-BE49-F238E27FC236}">
                <a16:creationId xmlns:a16="http://schemas.microsoft.com/office/drawing/2014/main" id="{EAE1951D-305F-461F-A9F9-1C1234A7939E}"/>
              </a:ext>
            </a:extLst>
          </p:cNvPr>
          <p:cNvPicPr>
            <a:picLocks noChangeAspect="1"/>
          </p:cNvPicPr>
          <p:nvPr/>
        </p:nvPicPr>
        <p:blipFill>
          <a:blip r:embed="rId7"/>
          <a:stretch>
            <a:fillRect/>
          </a:stretch>
        </p:blipFill>
        <p:spPr>
          <a:xfrm>
            <a:off x="4799600" y="1811645"/>
            <a:ext cx="1407660" cy="1020791"/>
          </a:xfrm>
          <a:prstGeom prst="rect">
            <a:avLst/>
          </a:prstGeom>
          <a:ln>
            <a:solidFill>
              <a:schemeClr val="accent1"/>
            </a:solidFill>
          </a:ln>
        </p:spPr>
      </p:pic>
      <p:pic>
        <p:nvPicPr>
          <p:cNvPr id="17" name="Picture 16">
            <a:extLst>
              <a:ext uri="{FF2B5EF4-FFF2-40B4-BE49-F238E27FC236}">
                <a16:creationId xmlns:a16="http://schemas.microsoft.com/office/drawing/2014/main" id="{D62471DA-6E2B-42A5-8CC3-D147B9540C43}"/>
              </a:ext>
            </a:extLst>
          </p:cNvPr>
          <p:cNvPicPr>
            <a:picLocks noChangeAspect="1"/>
          </p:cNvPicPr>
          <p:nvPr/>
        </p:nvPicPr>
        <p:blipFill>
          <a:blip r:embed="rId8"/>
          <a:stretch>
            <a:fillRect/>
          </a:stretch>
        </p:blipFill>
        <p:spPr>
          <a:xfrm>
            <a:off x="4799600" y="3173992"/>
            <a:ext cx="1852380" cy="1072431"/>
          </a:xfrm>
          <a:prstGeom prst="rect">
            <a:avLst/>
          </a:prstGeom>
          <a:ln>
            <a:solidFill>
              <a:schemeClr val="accent1"/>
            </a:solidFill>
          </a:ln>
        </p:spPr>
      </p:pic>
      <p:pic>
        <p:nvPicPr>
          <p:cNvPr id="23" name="Picture 22">
            <a:extLst>
              <a:ext uri="{FF2B5EF4-FFF2-40B4-BE49-F238E27FC236}">
                <a16:creationId xmlns:a16="http://schemas.microsoft.com/office/drawing/2014/main" id="{A0F41E07-1F7F-408A-AF12-8631C0244378}"/>
              </a:ext>
            </a:extLst>
          </p:cNvPr>
          <p:cNvPicPr>
            <a:picLocks noChangeAspect="1"/>
          </p:cNvPicPr>
          <p:nvPr/>
        </p:nvPicPr>
        <p:blipFill>
          <a:blip r:embed="rId9"/>
          <a:stretch>
            <a:fillRect/>
          </a:stretch>
        </p:blipFill>
        <p:spPr>
          <a:xfrm>
            <a:off x="4799600" y="4527498"/>
            <a:ext cx="3305288" cy="442061"/>
          </a:xfrm>
          <a:prstGeom prst="rect">
            <a:avLst/>
          </a:prstGeom>
          <a:ln>
            <a:solidFill>
              <a:schemeClr val="accent1"/>
            </a:solidFill>
          </a:ln>
        </p:spPr>
      </p:pic>
    </p:spTree>
    <p:extLst>
      <p:ext uri="{BB962C8B-B14F-4D97-AF65-F5344CB8AC3E}">
        <p14:creationId xmlns:p14="http://schemas.microsoft.com/office/powerpoint/2010/main" val="22061170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extLst>
              <p:ext uri="{D42A27DB-BD31-4B8C-83A1-F6EECF244321}">
                <p14:modId xmlns:p14="http://schemas.microsoft.com/office/powerpoint/2010/main" val="369502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Content – Hot Lea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Data</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07918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Data align</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40759" y="2644597"/>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Click into lead</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Unique data fields</a:t>
            </a:r>
          </a:p>
          <a:p>
            <a:pPr marL="457200" lvl="1" indent="0" algn="l"/>
            <a:r>
              <a:rPr lang="en-US" sz="1800" dirty="0">
                <a:solidFill>
                  <a:srgbClr val="222222"/>
                </a:solidFill>
                <a:ea typeface="Helvetica Neue Light"/>
              </a:rPr>
              <a:t>Align to content</a:t>
            </a:r>
          </a:p>
          <a:p>
            <a:pPr marL="457200" lvl="1" indent="0" algn="l"/>
            <a:r>
              <a:rPr lang="en-US" sz="1800" dirty="0">
                <a:solidFill>
                  <a:srgbClr val="222222"/>
                </a:solidFill>
                <a:ea typeface="Helvetica Neue Light"/>
              </a:rPr>
              <a:t>Lookup </a:t>
            </a:r>
            <a:r>
              <a:rPr lang="en-US" sz="1800" dirty="0" err="1">
                <a:solidFill>
                  <a:srgbClr val="222222"/>
                </a:solidFill>
                <a:ea typeface="Helvetica Neue Light"/>
              </a:rPr>
              <a:t>addl</a:t>
            </a:r>
            <a:r>
              <a:rPr lang="en-US" sz="1800" dirty="0">
                <a:solidFill>
                  <a:srgbClr val="222222"/>
                </a:solidFill>
                <a:ea typeface="Helvetica Neue Light"/>
              </a:rPr>
              <a:t> variables</a:t>
            </a:r>
          </a:p>
          <a:p>
            <a:pPr marL="457200" lvl="1" indent="0" algn="l"/>
            <a:r>
              <a:rPr lang="en-US" sz="1800" dirty="0">
                <a:solidFill>
                  <a:srgbClr val="222222"/>
                </a:solidFill>
                <a:ea typeface="Helvetica Neue Light"/>
              </a:rPr>
              <a:t>Click into lead functionality</a:t>
            </a:r>
          </a:p>
          <a:p>
            <a:pPr marL="457200" lvl="1" indent="0" algn="l"/>
            <a:r>
              <a:rPr lang="en-US" sz="1800" dirty="0">
                <a:solidFill>
                  <a:srgbClr val="222222"/>
                </a:solidFill>
                <a:ea typeface="Helvetica Neue Light"/>
              </a:rPr>
              <a:t>Email prompt</a:t>
            </a:r>
          </a:p>
          <a:p>
            <a:pPr marL="457200" lvl="1" indent="0" algn="l"/>
            <a:r>
              <a:rPr lang="en-US" sz="1800" dirty="0">
                <a:solidFill>
                  <a:srgbClr val="222222"/>
                </a:solidFill>
                <a:ea typeface="Helvetica Neue Light"/>
              </a:rPr>
              <a:t>E2E testing</a:t>
            </a:r>
          </a:p>
          <a:p>
            <a:pPr marL="1257300" lvl="2" indent="-342900" algn="l">
              <a:buFont typeface="Arial" panose="020B0604020202020204" pitchFamily="34" charset="0"/>
              <a:buChar char="•"/>
            </a:pPr>
            <a:endParaRPr lang="en-US" sz="1800" dirty="0">
              <a:solidFill>
                <a:srgbClr val="222222"/>
              </a:solidFill>
              <a:ea typeface="Helvetica Neue Light"/>
            </a:endParaRPr>
          </a:p>
        </p:txBody>
      </p:sp>
      <p:sp>
        <p:nvSpPr>
          <p:cNvPr id="18" name="Google Shape;404;p52">
            <a:extLst>
              <a:ext uri="{FF2B5EF4-FFF2-40B4-BE49-F238E27FC236}">
                <a16:creationId xmlns:a16="http://schemas.microsoft.com/office/drawing/2014/main" id="{88842240-96D2-442A-9FDA-836D12ADFEA2}"/>
              </a:ext>
            </a:extLst>
          </p:cNvPr>
          <p:cNvSpPr txBox="1">
            <a:spLocks/>
          </p:cNvSpPr>
          <p:nvPr/>
        </p:nvSpPr>
        <p:spPr>
          <a:xfrm>
            <a:off x="4280111" y="3816337"/>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Email prompt</a:t>
            </a:r>
          </a:p>
        </p:txBody>
      </p:sp>
      <p:pic>
        <p:nvPicPr>
          <p:cNvPr id="4" name="Picture 3">
            <a:extLst>
              <a:ext uri="{FF2B5EF4-FFF2-40B4-BE49-F238E27FC236}">
                <a16:creationId xmlns:a16="http://schemas.microsoft.com/office/drawing/2014/main" id="{55A7B5F1-B071-44AA-9CD0-E8FE6BE961F7}"/>
              </a:ext>
            </a:extLst>
          </p:cNvPr>
          <p:cNvPicPr>
            <a:picLocks noChangeAspect="1"/>
          </p:cNvPicPr>
          <p:nvPr/>
        </p:nvPicPr>
        <p:blipFill>
          <a:blip r:embed="rId6"/>
          <a:stretch>
            <a:fillRect/>
          </a:stretch>
        </p:blipFill>
        <p:spPr>
          <a:xfrm>
            <a:off x="1830322" y="2571750"/>
            <a:ext cx="2656103" cy="2345233"/>
          </a:xfrm>
          <a:prstGeom prst="rect">
            <a:avLst/>
          </a:prstGeom>
          <a:ln>
            <a:solidFill>
              <a:schemeClr val="accent1"/>
            </a:solidFill>
          </a:ln>
        </p:spPr>
      </p:pic>
      <p:pic>
        <p:nvPicPr>
          <p:cNvPr id="19" name="Picture 4">
            <a:extLst>
              <a:ext uri="{FF2B5EF4-FFF2-40B4-BE49-F238E27FC236}">
                <a16:creationId xmlns:a16="http://schemas.microsoft.com/office/drawing/2014/main" id="{210AB2DE-A11E-4BFD-845D-856E6CD098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29769" y="2979515"/>
            <a:ext cx="3185755" cy="7131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633B6437-BD4C-4A4C-8C15-E616C9E5A959}"/>
              </a:ext>
            </a:extLst>
          </p:cNvPr>
          <p:cNvPicPr>
            <a:picLocks noChangeAspect="1"/>
          </p:cNvPicPr>
          <p:nvPr/>
        </p:nvPicPr>
        <p:blipFill>
          <a:blip r:embed="rId8"/>
          <a:stretch>
            <a:fillRect/>
          </a:stretch>
        </p:blipFill>
        <p:spPr>
          <a:xfrm>
            <a:off x="4799599" y="4111316"/>
            <a:ext cx="3416044" cy="197389"/>
          </a:xfrm>
          <a:prstGeom prst="rect">
            <a:avLst/>
          </a:prstGeom>
        </p:spPr>
      </p:pic>
      <p:pic>
        <p:nvPicPr>
          <p:cNvPr id="21" name="Picture 20">
            <a:extLst>
              <a:ext uri="{FF2B5EF4-FFF2-40B4-BE49-F238E27FC236}">
                <a16:creationId xmlns:a16="http://schemas.microsoft.com/office/drawing/2014/main" id="{32B8A5B1-6EE8-4E86-B7AD-802DD73F3B00}"/>
              </a:ext>
            </a:extLst>
          </p:cNvPr>
          <p:cNvPicPr>
            <a:picLocks noChangeAspect="1"/>
          </p:cNvPicPr>
          <p:nvPr/>
        </p:nvPicPr>
        <p:blipFill>
          <a:blip r:embed="rId9"/>
          <a:stretch>
            <a:fillRect/>
          </a:stretch>
        </p:blipFill>
        <p:spPr>
          <a:xfrm>
            <a:off x="4799599" y="477351"/>
            <a:ext cx="4086313" cy="546518"/>
          </a:xfrm>
          <a:prstGeom prst="rect">
            <a:avLst/>
          </a:prstGeom>
          <a:ln>
            <a:solidFill>
              <a:schemeClr val="accent1"/>
            </a:solidFill>
          </a:ln>
        </p:spPr>
      </p:pic>
      <p:pic>
        <p:nvPicPr>
          <p:cNvPr id="6" name="Picture 5">
            <a:extLst>
              <a:ext uri="{FF2B5EF4-FFF2-40B4-BE49-F238E27FC236}">
                <a16:creationId xmlns:a16="http://schemas.microsoft.com/office/drawing/2014/main" id="{119F473F-CCC6-40FF-A443-43B56D8FB896}"/>
              </a:ext>
            </a:extLst>
          </p:cNvPr>
          <p:cNvPicPr>
            <a:picLocks noChangeAspect="1"/>
          </p:cNvPicPr>
          <p:nvPr/>
        </p:nvPicPr>
        <p:blipFill>
          <a:blip r:embed="rId10"/>
          <a:stretch>
            <a:fillRect/>
          </a:stretch>
        </p:blipFill>
        <p:spPr>
          <a:xfrm>
            <a:off x="4799599" y="1345036"/>
            <a:ext cx="3438314" cy="1226816"/>
          </a:xfrm>
          <a:prstGeom prst="rect">
            <a:avLst/>
          </a:prstGeom>
        </p:spPr>
      </p:pic>
    </p:spTree>
    <p:extLst>
      <p:ext uri="{BB962C8B-B14F-4D97-AF65-F5344CB8AC3E}">
        <p14:creationId xmlns:p14="http://schemas.microsoft.com/office/powerpoint/2010/main" val="2257182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5424D2-5A7B-43E2-860C-0F35FD90A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05424D2-5A7B-43E2-860C-0F35FD90A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405;p52">
            <a:extLst>
              <a:ext uri="{FF2B5EF4-FFF2-40B4-BE49-F238E27FC236}">
                <a16:creationId xmlns:a16="http://schemas.microsoft.com/office/drawing/2014/main" id="{74AA617D-8219-4F65-AF47-6C3E66D6D26E}"/>
              </a:ext>
            </a:extLst>
          </p:cNvPr>
          <p:cNvSpPr txBox="1">
            <a:spLocks noGrp="1"/>
          </p:cNvSpPr>
          <p:nvPr>
            <p:ph type="title"/>
          </p:nvPr>
        </p:nvSpPr>
        <p:spPr>
          <a:xfrm>
            <a:off x="298475" y="160725"/>
            <a:ext cx="4195704"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Content – Hot Lead</a:t>
            </a:r>
            <a:endParaRPr dirty="0"/>
          </a:p>
        </p:txBody>
      </p:sp>
      <p:sp>
        <p:nvSpPr>
          <p:cNvPr id="11" name="Google Shape;404;p52">
            <a:extLst>
              <a:ext uri="{FF2B5EF4-FFF2-40B4-BE49-F238E27FC236}">
                <a16:creationId xmlns:a16="http://schemas.microsoft.com/office/drawing/2014/main" id="{BF394AAC-495D-4337-8DC5-3198EEA8D27F}"/>
              </a:ext>
            </a:extLst>
          </p:cNvPr>
          <p:cNvSpPr txBox="1">
            <a:spLocks/>
          </p:cNvSpPr>
          <p:nvPr/>
        </p:nvSpPr>
        <p:spPr>
          <a:xfrm>
            <a:off x="4240759" y="174433"/>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Basic personalization</a:t>
            </a:r>
          </a:p>
        </p:txBody>
      </p:sp>
      <p:sp>
        <p:nvSpPr>
          <p:cNvPr id="12" name="Google Shape;404;p52">
            <a:extLst>
              <a:ext uri="{FF2B5EF4-FFF2-40B4-BE49-F238E27FC236}">
                <a16:creationId xmlns:a16="http://schemas.microsoft.com/office/drawing/2014/main" id="{EE20109F-0C11-4467-9232-876FF5EAD88B}"/>
              </a:ext>
            </a:extLst>
          </p:cNvPr>
          <p:cNvSpPr txBox="1">
            <a:spLocks/>
          </p:cNvSpPr>
          <p:nvPr/>
        </p:nvSpPr>
        <p:spPr>
          <a:xfrm>
            <a:off x="4240759" y="1103459"/>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Signature block</a:t>
            </a:r>
          </a:p>
        </p:txBody>
      </p:sp>
      <p:sp>
        <p:nvSpPr>
          <p:cNvPr id="13" name="Google Shape;404;p52">
            <a:extLst>
              <a:ext uri="{FF2B5EF4-FFF2-40B4-BE49-F238E27FC236}">
                <a16:creationId xmlns:a16="http://schemas.microsoft.com/office/drawing/2014/main" id="{40E0A525-CC27-4DAE-BB1D-69E7EBD4BCB5}"/>
              </a:ext>
            </a:extLst>
          </p:cNvPr>
          <p:cNvSpPr txBox="1">
            <a:spLocks/>
          </p:cNvSpPr>
          <p:nvPr/>
        </p:nvSpPr>
        <p:spPr>
          <a:xfrm>
            <a:off x="4251079" y="2178040"/>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Dynamic content</a:t>
            </a:r>
          </a:p>
        </p:txBody>
      </p:sp>
      <p:sp>
        <p:nvSpPr>
          <p:cNvPr id="14" name="Google Shape;404;p52">
            <a:extLst>
              <a:ext uri="{FF2B5EF4-FFF2-40B4-BE49-F238E27FC236}">
                <a16:creationId xmlns:a16="http://schemas.microsoft.com/office/drawing/2014/main" id="{7EBAFEA2-55BF-4B8E-8416-9B4B72881867}"/>
              </a:ext>
            </a:extLst>
          </p:cNvPr>
          <p:cNvSpPr txBox="1">
            <a:spLocks/>
          </p:cNvSpPr>
          <p:nvPr/>
        </p:nvSpPr>
        <p:spPr>
          <a:xfrm>
            <a:off x="-105900" y="923772"/>
            <a:ext cx="4425363" cy="3695099"/>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1800" dirty="0">
                <a:solidFill>
                  <a:srgbClr val="222222"/>
                </a:solidFill>
                <a:ea typeface="Helvetica Neue Light"/>
              </a:rPr>
              <a:t>Build</a:t>
            </a:r>
          </a:p>
          <a:p>
            <a:pPr marL="742950" lvl="1" indent="-285750" algn="l">
              <a:buFont typeface="Arial" panose="020B0604020202020204" pitchFamily="34" charset="0"/>
              <a:buChar char="•"/>
            </a:pPr>
            <a:r>
              <a:rPr lang="en-US" sz="1800" dirty="0">
                <a:solidFill>
                  <a:srgbClr val="222222"/>
                </a:solidFill>
                <a:ea typeface="Helvetica Neue Light"/>
              </a:rPr>
              <a:t>Email design system</a:t>
            </a:r>
          </a:p>
          <a:p>
            <a:pPr marL="742950" lvl="1" indent="-285750" algn="l">
              <a:buFont typeface="Arial" panose="020B0604020202020204" pitchFamily="34" charset="0"/>
              <a:buChar char="•"/>
            </a:pPr>
            <a:r>
              <a:rPr lang="en-US" sz="1800" dirty="0">
                <a:solidFill>
                  <a:srgbClr val="222222"/>
                </a:solidFill>
                <a:ea typeface="Helvetica Neue Light"/>
              </a:rPr>
              <a:t>Personalization</a:t>
            </a:r>
          </a:p>
          <a:p>
            <a:pPr marL="457200" lvl="1" indent="0" algn="l"/>
            <a:r>
              <a:rPr lang="en-US" sz="1800" dirty="0">
                <a:solidFill>
                  <a:srgbClr val="222222"/>
                </a:solidFill>
                <a:ea typeface="Helvetica Neue Light"/>
              </a:rPr>
              <a:t>Signature block</a:t>
            </a:r>
          </a:p>
          <a:p>
            <a:pPr marL="457200" lvl="1" indent="0" algn="l"/>
            <a:r>
              <a:rPr lang="en-US" sz="1800" dirty="0">
                <a:solidFill>
                  <a:srgbClr val="222222"/>
                </a:solidFill>
                <a:ea typeface="Helvetica Neue Light"/>
              </a:rPr>
              <a:t>Dynamic content</a:t>
            </a:r>
          </a:p>
          <a:p>
            <a:pPr marL="457200" lvl="1" indent="0" algn="l"/>
            <a:r>
              <a:rPr lang="en-US" sz="1800" dirty="0">
                <a:solidFill>
                  <a:srgbClr val="222222"/>
                </a:solidFill>
                <a:ea typeface="Helvetica Neue Light"/>
              </a:rPr>
              <a:t>Dynamic sender profile</a:t>
            </a:r>
          </a:p>
          <a:p>
            <a:pPr marL="457200" lvl="1" indent="0" algn="l"/>
            <a:endParaRPr lang="en-US" sz="1800" dirty="0">
              <a:solidFill>
                <a:srgbClr val="222222"/>
              </a:solidFill>
              <a:ea typeface="Helvetica Neue Light"/>
            </a:endParaRPr>
          </a:p>
          <a:p>
            <a:pPr marL="457200" lvl="1" indent="0" algn="l"/>
            <a:endParaRPr lang="en-US" sz="1800" dirty="0">
              <a:solidFill>
                <a:srgbClr val="222222"/>
              </a:solidFill>
              <a:ea typeface="Helvetica Neue Light"/>
            </a:endParaRPr>
          </a:p>
          <a:p>
            <a:pPr marL="457200" lvl="1" indent="0" algn="l"/>
            <a:endParaRPr lang="en-US" sz="1800" dirty="0">
              <a:solidFill>
                <a:srgbClr val="222222"/>
              </a:solidFill>
              <a:ea typeface="Helvetica Neue Light"/>
            </a:endParaRPr>
          </a:p>
          <a:p>
            <a:pPr marL="457200" lvl="1" indent="0" algn="l"/>
            <a:r>
              <a:rPr lang="en-US" sz="1800" dirty="0">
                <a:solidFill>
                  <a:srgbClr val="222222"/>
                </a:solidFill>
                <a:ea typeface="Helvetica Neue Light"/>
              </a:rPr>
              <a:t>Watchouts</a:t>
            </a:r>
          </a:p>
          <a:p>
            <a:pPr marL="742950" lvl="1" indent="-285750" algn="l">
              <a:buFont typeface="Arial" panose="020B0604020202020204" pitchFamily="34" charset="0"/>
              <a:buChar char="•"/>
            </a:pPr>
            <a:r>
              <a:rPr lang="en-US" sz="1800" dirty="0">
                <a:solidFill>
                  <a:srgbClr val="222222"/>
                </a:solidFill>
                <a:ea typeface="Helvetica Neue Light"/>
              </a:rPr>
              <a:t>Engagement split </a:t>
            </a:r>
          </a:p>
          <a:p>
            <a:pPr marL="742950" lvl="1" indent="-285750" algn="l">
              <a:buFont typeface="Arial" panose="020B0604020202020204" pitchFamily="34" charset="0"/>
              <a:buChar char="•"/>
            </a:pPr>
            <a:r>
              <a:rPr lang="en-US" sz="1800" dirty="0">
                <a:solidFill>
                  <a:srgbClr val="222222"/>
                </a:solidFill>
                <a:ea typeface="Helvetica Neue Light"/>
              </a:rPr>
              <a:t>Code snippets vs free form</a:t>
            </a:r>
          </a:p>
          <a:p>
            <a:pPr marL="1257300" lvl="2" indent="-342900" algn="l">
              <a:buFont typeface="Arial" panose="020B0604020202020204" pitchFamily="34" charset="0"/>
              <a:buChar char="•"/>
            </a:pPr>
            <a:endParaRPr lang="en-US" sz="1800" dirty="0">
              <a:solidFill>
                <a:srgbClr val="222222"/>
              </a:solidFill>
              <a:ea typeface="Helvetica Neue Light"/>
            </a:endParaRPr>
          </a:p>
        </p:txBody>
      </p:sp>
      <p:sp>
        <p:nvSpPr>
          <p:cNvPr id="18" name="Google Shape;404;p52">
            <a:extLst>
              <a:ext uri="{FF2B5EF4-FFF2-40B4-BE49-F238E27FC236}">
                <a16:creationId xmlns:a16="http://schemas.microsoft.com/office/drawing/2014/main" id="{88842240-96D2-442A-9FDA-836D12ADFEA2}"/>
              </a:ext>
            </a:extLst>
          </p:cNvPr>
          <p:cNvSpPr txBox="1">
            <a:spLocks/>
          </p:cNvSpPr>
          <p:nvPr/>
        </p:nvSpPr>
        <p:spPr>
          <a:xfrm>
            <a:off x="4280111" y="3565485"/>
            <a:ext cx="3072919" cy="345401"/>
          </a:xfrm>
          <a:prstGeom prst="rect">
            <a:avLst/>
          </a:prstGeom>
          <a:noFill/>
          <a:ln>
            <a:noFill/>
          </a:ln>
        </p:spPr>
        <p:txBody>
          <a:bodyPr spcFirstLastPara="1" wrap="square" lIns="91425" tIns="91425" rIns="91425" bIns="91425" anchor="t" anchorCtr="0">
            <a:normAutofit fontScale="62500" lnSpcReduction="20000"/>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dk2"/>
              </a:buClr>
              <a:buSzPts val="1800"/>
              <a:buFont typeface="Open Sans"/>
              <a:buNone/>
              <a:defRPr sz="1800" b="0" i="0" u="none" strike="noStrike" cap="none">
                <a:solidFill>
                  <a:schemeClr val="dk2"/>
                </a:solidFill>
                <a:latin typeface="Open Sans"/>
                <a:ea typeface="Open Sans"/>
                <a:cs typeface="Open Sans"/>
                <a:sym typeface="Open Sans"/>
              </a:defRPr>
            </a:lvl1pPr>
            <a:lvl2pPr marL="914400" marR="0" lvl="1"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2pPr>
            <a:lvl3pPr marL="1371600" marR="0" lvl="2"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3pPr>
            <a:lvl4pPr marL="1828800" marR="0" lvl="3"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4pPr>
            <a:lvl5pPr marL="2286000" marR="0" lvl="4"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5pPr>
            <a:lvl6pPr marL="2743200" marR="0" lvl="5"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6pPr>
            <a:lvl7pPr marL="3200400" marR="0" lvl="6"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7pPr>
            <a:lvl8pPr marL="3657600" marR="0" lvl="7"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8pPr>
            <a:lvl9pPr marL="4114800" marR="0" lvl="8" indent="-317500" algn="ctr" rtl="0">
              <a:lnSpc>
                <a:spcPct val="100000"/>
              </a:lnSpc>
              <a:spcBef>
                <a:spcPts val="0"/>
              </a:spcBef>
              <a:spcAft>
                <a:spcPts val="0"/>
              </a:spcAft>
              <a:buClr>
                <a:schemeClr val="dk2"/>
              </a:buClr>
              <a:buSzPts val="2100"/>
              <a:buFont typeface="Open Sans"/>
              <a:buNone/>
              <a:defRPr sz="2100" b="0" i="0" u="none" strike="noStrike" cap="none">
                <a:solidFill>
                  <a:schemeClr val="dk2"/>
                </a:solidFill>
                <a:latin typeface="Open Sans"/>
                <a:ea typeface="Open Sans"/>
                <a:cs typeface="Open Sans"/>
                <a:sym typeface="Open Sans"/>
              </a:defRPr>
            </a:lvl9pPr>
          </a:lstStyle>
          <a:p>
            <a:pPr marL="457200" lvl="1" indent="0" algn="l"/>
            <a:r>
              <a:rPr lang="en-US" sz="2000" dirty="0">
                <a:solidFill>
                  <a:schemeClr val="bg1"/>
                </a:solidFill>
                <a:ea typeface="Helvetica Neue Light"/>
              </a:rPr>
              <a:t>Dynamic sender profile</a:t>
            </a:r>
          </a:p>
        </p:txBody>
      </p:sp>
      <p:pic>
        <p:nvPicPr>
          <p:cNvPr id="5" name="Picture 4">
            <a:extLst>
              <a:ext uri="{FF2B5EF4-FFF2-40B4-BE49-F238E27FC236}">
                <a16:creationId xmlns:a16="http://schemas.microsoft.com/office/drawing/2014/main" id="{C8291631-F2A8-416E-837D-81FE1CAE0A45}"/>
              </a:ext>
            </a:extLst>
          </p:cNvPr>
          <p:cNvPicPr>
            <a:picLocks noChangeAspect="1"/>
          </p:cNvPicPr>
          <p:nvPr/>
        </p:nvPicPr>
        <p:blipFill>
          <a:blip r:embed="rId6"/>
          <a:stretch>
            <a:fillRect/>
          </a:stretch>
        </p:blipFill>
        <p:spPr>
          <a:xfrm>
            <a:off x="3123684" y="879696"/>
            <a:ext cx="1526139" cy="2812994"/>
          </a:xfrm>
          <a:prstGeom prst="rect">
            <a:avLst/>
          </a:prstGeom>
          <a:ln>
            <a:solidFill>
              <a:schemeClr val="accent1"/>
            </a:solidFill>
          </a:ln>
        </p:spPr>
      </p:pic>
      <p:pic>
        <p:nvPicPr>
          <p:cNvPr id="9" name="Picture 8">
            <a:extLst>
              <a:ext uri="{FF2B5EF4-FFF2-40B4-BE49-F238E27FC236}">
                <a16:creationId xmlns:a16="http://schemas.microsoft.com/office/drawing/2014/main" id="{A244DD7A-A9A0-4972-B1E5-6A846606CD2A}"/>
              </a:ext>
            </a:extLst>
          </p:cNvPr>
          <p:cNvPicPr>
            <a:picLocks noChangeAspect="1"/>
          </p:cNvPicPr>
          <p:nvPr/>
        </p:nvPicPr>
        <p:blipFill>
          <a:blip r:embed="rId7"/>
          <a:stretch>
            <a:fillRect/>
          </a:stretch>
        </p:blipFill>
        <p:spPr>
          <a:xfrm>
            <a:off x="4796471" y="2510041"/>
            <a:ext cx="4256014" cy="1034955"/>
          </a:xfrm>
          <a:prstGeom prst="rect">
            <a:avLst/>
          </a:prstGeom>
          <a:ln>
            <a:solidFill>
              <a:schemeClr val="accent1"/>
            </a:solidFill>
          </a:ln>
        </p:spPr>
      </p:pic>
      <p:pic>
        <p:nvPicPr>
          <p:cNvPr id="22" name="Picture 21">
            <a:extLst>
              <a:ext uri="{FF2B5EF4-FFF2-40B4-BE49-F238E27FC236}">
                <a16:creationId xmlns:a16="http://schemas.microsoft.com/office/drawing/2014/main" id="{072300BD-2BD3-4A3D-8D66-642EA03CE164}"/>
              </a:ext>
            </a:extLst>
          </p:cNvPr>
          <p:cNvPicPr>
            <a:picLocks noChangeAspect="1"/>
          </p:cNvPicPr>
          <p:nvPr/>
        </p:nvPicPr>
        <p:blipFill>
          <a:blip r:embed="rId8"/>
          <a:stretch>
            <a:fillRect/>
          </a:stretch>
        </p:blipFill>
        <p:spPr>
          <a:xfrm>
            <a:off x="4796471" y="459339"/>
            <a:ext cx="2588105" cy="621926"/>
          </a:xfrm>
          <a:prstGeom prst="rect">
            <a:avLst/>
          </a:prstGeom>
          <a:ln>
            <a:solidFill>
              <a:schemeClr val="accent1"/>
            </a:solidFill>
          </a:ln>
        </p:spPr>
      </p:pic>
      <p:pic>
        <p:nvPicPr>
          <p:cNvPr id="23" name="Picture 4">
            <a:extLst>
              <a:ext uri="{FF2B5EF4-FFF2-40B4-BE49-F238E27FC236}">
                <a16:creationId xmlns:a16="http://schemas.microsoft.com/office/drawing/2014/main" id="{EBAE7D9C-756F-4BCB-848E-76953770328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96471" y="1396116"/>
            <a:ext cx="4256014" cy="719866"/>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25CEE5C0-DE96-499E-A56B-99D3AE663B23}"/>
              </a:ext>
            </a:extLst>
          </p:cNvPr>
          <p:cNvPicPr>
            <a:picLocks noChangeAspect="1"/>
          </p:cNvPicPr>
          <p:nvPr/>
        </p:nvPicPr>
        <p:blipFill>
          <a:blip r:embed="rId10"/>
          <a:stretch>
            <a:fillRect/>
          </a:stretch>
        </p:blipFill>
        <p:spPr>
          <a:xfrm>
            <a:off x="4824539" y="3904946"/>
            <a:ext cx="3489050" cy="719866"/>
          </a:xfrm>
          <a:prstGeom prst="rect">
            <a:avLst/>
          </a:prstGeom>
          <a:ln>
            <a:solidFill>
              <a:schemeClr val="accent1"/>
            </a:solidFill>
          </a:ln>
        </p:spPr>
      </p:pic>
    </p:spTree>
    <p:extLst>
      <p:ext uri="{BB962C8B-B14F-4D97-AF65-F5344CB8AC3E}">
        <p14:creationId xmlns:p14="http://schemas.microsoft.com/office/powerpoint/2010/main" val="4137888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6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033AF3-8D5E-42C6-992A-F15A4B34BE77}"/>
              </a:ext>
            </a:extLst>
          </p:cNvPr>
          <p:cNvGraphicFramePr>
            <a:graphicFrameLocks noChangeAspect="1"/>
          </p:cNvGraphicFramePr>
          <p:nvPr>
            <p:custDataLst>
              <p:tags r:id="rId1"/>
            </p:custDataLst>
            <p:extLst>
              <p:ext uri="{D42A27DB-BD31-4B8C-83A1-F6EECF244321}">
                <p14:modId xmlns:p14="http://schemas.microsoft.com/office/powerpoint/2010/main" val="425558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66033AF3-8D5E-42C6-992A-F15A4B34BE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7" name="Google Shape;367;p47"/>
          <p:cNvSpPr txBox="1">
            <a:spLocks noGrp="1"/>
          </p:cNvSpPr>
          <p:nvPr>
            <p:ph type="title"/>
          </p:nvPr>
        </p:nvSpPr>
        <p:spPr>
          <a:xfrm>
            <a:off x="298475" y="2138375"/>
            <a:ext cx="7864500" cy="1818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Best practices/tips</a:t>
            </a:r>
            <a:endParaRPr dirty="0"/>
          </a:p>
        </p:txBody>
      </p:sp>
    </p:spTree>
    <p:extLst>
      <p:ext uri="{BB962C8B-B14F-4D97-AF65-F5344CB8AC3E}">
        <p14:creationId xmlns:p14="http://schemas.microsoft.com/office/powerpoint/2010/main" val="22578764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extLst>
              <p:ext uri="{D42A27DB-BD31-4B8C-83A1-F6EECF244321}">
                <p14:modId xmlns:p14="http://schemas.microsoft.com/office/powerpoint/2010/main" val="1642508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4" name="Google Shape;404;p52"/>
          <p:cNvSpPr txBox="1">
            <a:spLocks noGrp="1"/>
          </p:cNvSpPr>
          <p:nvPr>
            <p:ph type="body" idx="1"/>
          </p:nvPr>
        </p:nvSpPr>
        <p:spPr>
          <a:xfrm>
            <a:off x="311700" y="1152474"/>
            <a:ext cx="8597631" cy="3621827"/>
          </a:xfrm>
          <a:prstGeom prst="rect">
            <a:avLst/>
          </a:prstGeom>
        </p:spPr>
        <p:txBody>
          <a:bodyPr spcFirstLastPara="1" wrap="square" lIns="91425" tIns="91425" rIns="91425" bIns="91425" anchor="t" anchorCtr="0">
            <a:normAutofit fontScale="92500" lnSpcReduction="10000"/>
          </a:bodyPr>
          <a:lstStyle/>
          <a:p>
            <a:pPr marL="139700" indent="0">
              <a:buNone/>
            </a:pPr>
            <a:r>
              <a:rPr lang="en-US" dirty="0">
                <a:solidFill>
                  <a:srgbClr val="222222"/>
                </a:solidFill>
                <a:ea typeface="Helvetica Neue Light"/>
              </a:rPr>
              <a:t>Queries - USE DE SELECT!  If you can’t use the following:</a:t>
            </a:r>
          </a:p>
          <a:p>
            <a:pPr marL="800100" lvl="1" indent="-342900">
              <a:buFont typeface="Arial" panose="020B0604020202020204" pitchFamily="34" charset="0"/>
              <a:buChar char="•"/>
            </a:pPr>
            <a:r>
              <a:rPr lang="en-US" dirty="0">
                <a:solidFill>
                  <a:srgbClr val="222222"/>
                </a:solidFill>
                <a:ea typeface="Helvetica Neue Light"/>
              </a:rPr>
              <a:t>Remember the three basic sections of every query SELECT, FROM, WHERE</a:t>
            </a:r>
          </a:p>
          <a:p>
            <a:pPr marL="800100" lvl="1" indent="-342900">
              <a:buFont typeface="Arial" panose="020B0604020202020204" pitchFamily="34" charset="0"/>
              <a:buChar char="•"/>
            </a:pPr>
            <a:r>
              <a:rPr lang="en-US" dirty="0">
                <a:solidFill>
                  <a:srgbClr val="222222"/>
                </a:solidFill>
                <a:ea typeface="Helvetica Neue Light"/>
              </a:rPr>
              <a:t>In the SELECT statement use the “, variable” for each line for efficient syntax</a:t>
            </a:r>
          </a:p>
          <a:p>
            <a:pPr marL="800100" lvl="1" indent="-342900">
              <a:buFont typeface="Arial" panose="020B0604020202020204" pitchFamily="34" charset="0"/>
              <a:buChar char="•"/>
            </a:pPr>
            <a:r>
              <a:rPr lang="en-US" dirty="0">
                <a:solidFill>
                  <a:srgbClr val="222222"/>
                </a:solidFill>
                <a:ea typeface="Helvetica Neue Light"/>
              </a:rPr>
              <a:t>Build your Data Extension as you are building the query</a:t>
            </a:r>
          </a:p>
          <a:p>
            <a:pPr marL="800100" lvl="1" indent="-342900">
              <a:buFont typeface="Arial" panose="020B0604020202020204" pitchFamily="34" charset="0"/>
              <a:buChar char="•"/>
            </a:pPr>
            <a:r>
              <a:rPr lang="en-US" dirty="0">
                <a:solidFill>
                  <a:srgbClr val="222222"/>
                </a:solidFill>
                <a:ea typeface="Helvetica Neue Light"/>
              </a:rPr>
              <a:t>Watch those JOINS: Double check each join to make sure it’s not limiting or adding too much data to your data pool</a:t>
            </a:r>
          </a:p>
          <a:p>
            <a:pPr marL="800100" lvl="1" indent="-342900">
              <a:buFont typeface="Arial" panose="020B0604020202020204" pitchFamily="34" charset="0"/>
              <a:buChar char="•"/>
            </a:pPr>
            <a:r>
              <a:rPr lang="en-US" dirty="0">
                <a:solidFill>
                  <a:srgbClr val="222222"/>
                </a:solidFill>
                <a:ea typeface="Helvetica Neue Light"/>
              </a:rPr>
              <a:t>Don’t forget about null values</a:t>
            </a:r>
          </a:p>
          <a:p>
            <a:pPr marL="800100" lvl="1" indent="-342900">
              <a:buFont typeface="Arial" panose="020B0604020202020204" pitchFamily="34" charset="0"/>
              <a:buChar char="•"/>
            </a:pPr>
            <a:r>
              <a:rPr lang="en-US" dirty="0">
                <a:solidFill>
                  <a:srgbClr val="222222"/>
                </a:solidFill>
                <a:ea typeface="Helvetica Neue Light"/>
              </a:rPr>
              <a:t>Use Run Once to quickly run the query vs setting up an automation</a:t>
            </a:r>
          </a:p>
          <a:p>
            <a:pPr marL="139700" indent="0">
              <a:buNone/>
            </a:pPr>
            <a:br>
              <a:rPr lang="en-US" dirty="0">
                <a:solidFill>
                  <a:srgbClr val="222222"/>
                </a:solidFill>
                <a:ea typeface="Helvetica Neue Light"/>
              </a:rPr>
            </a:br>
            <a:r>
              <a:rPr lang="en-US" dirty="0">
                <a:solidFill>
                  <a:srgbClr val="222222"/>
                </a:solidFill>
                <a:ea typeface="Helvetica Neue Light"/>
              </a:rPr>
              <a:t>Automations</a:t>
            </a:r>
          </a:p>
          <a:p>
            <a:pPr marL="800100" lvl="1" indent="-342900">
              <a:buFont typeface="Arial" panose="020B0604020202020204" pitchFamily="34" charset="0"/>
              <a:buChar char="•"/>
            </a:pPr>
            <a:r>
              <a:rPr lang="en-US" dirty="0">
                <a:solidFill>
                  <a:srgbClr val="222222"/>
                </a:solidFill>
                <a:ea typeface="Helvetica Neue Light"/>
              </a:rPr>
              <a:t>Activate an automation to a future date to have it be available to be selected by the Journey at setup</a:t>
            </a:r>
          </a:p>
          <a:p>
            <a:pPr marL="800100" lvl="1" indent="-342900">
              <a:buFont typeface="Arial" panose="020B0604020202020204" pitchFamily="34" charset="0"/>
              <a:buChar char="•"/>
            </a:pPr>
            <a:r>
              <a:rPr lang="en-US" dirty="0">
                <a:solidFill>
                  <a:srgbClr val="222222"/>
                </a:solidFill>
                <a:ea typeface="Helvetica Neue Light"/>
              </a:rPr>
              <a:t>Pause the journey and “Run Once” selecting partial activities to verify the data at each stage of the automation</a:t>
            </a:r>
          </a:p>
          <a:p>
            <a:pPr marL="800100" lvl="1" indent="-342900">
              <a:buFont typeface="Arial" panose="020B0604020202020204" pitchFamily="34" charset="0"/>
              <a:buChar char="•"/>
            </a:pPr>
            <a:r>
              <a:rPr lang="en-US" dirty="0">
                <a:solidFill>
                  <a:srgbClr val="222222"/>
                </a:solidFill>
                <a:ea typeface="Helvetica Neue Light"/>
              </a:rPr>
              <a:t>Keep activities on their own separate swim lane </a:t>
            </a:r>
          </a:p>
          <a:p>
            <a:pPr marL="800100" lvl="1" indent="-342900">
              <a:buFont typeface="Arial" panose="020B0604020202020204" pitchFamily="34" charset="0"/>
              <a:buChar char="•"/>
            </a:pPr>
            <a:r>
              <a:rPr lang="en-US" dirty="0">
                <a:solidFill>
                  <a:srgbClr val="222222"/>
                </a:solidFill>
                <a:ea typeface="Helvetica Neue Light"/>
              </a:rPr>
              <a:t>Don’t forget to add run/skip notifications</a:t>
            </a:r>
            <a:endParaRPr dirty="0"/>
          </a:p>
        </p:txBody>
      </p:sp>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Automation tips</a:t>
            </a:r>
            <a:endParaRPr dirty="0"/>
          </a:p>
        </p:txBody>
      </p:sp>
    </p:spTree>
    <p:extLst>
      <p:ext uri="{BB962C8B-B14F-4D97-AF65-F5344CB8AC3E}">
        <p14:creationId xmlns:p14="http://schemas.microsoft.com/office/powerpoint/2010/main" val="29046406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extLst>
              <p:ext uri="{D42A27DB-BD31-4B8C-83A1-F6EECF244321}">
                <p14:modId xmlns:p14="http://schemas.microsoft.com/office/powerpoint/2010/main" val="426394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4" name="Google Shape;404;p52"/>
          <p:cNvSpPr txBox="1">
            <a:spLocks noGrp="1"/>
          </p:cNvSpPr>
          <p:nvPr>
            <p:ph type="body" idx="1"/>
          </p:nvPr>
        </p:nvSpPr>
        <p:spPr>
          <a:xfrm>
            <a:off x="311700" y="1152474"/>
            <a:ext cx="8597631" cy="3621827"/>
          </a:xfrm>
          <a:prstGeom prst="rect">
            <a:avLst/>
          </a:prstGeom>
        </p:spPr>
        <p:txBody>
          <a:bodyPr spcFirstLastPara="1" wrap="square" lIns="91425" tIns="91425" rIns="91425" bIns="91425" anchor="t" anchorCtr="0">
            <a:normAutofit fontScale="92500"/>
          </a:bodyPr>
          <a:lstStyle/>
          <a:p>
            <a:pPr marL="139700" indent="0">
              <a:buNone/>
            </a:pPr>
            <a:r>
              <a:rPr lang="en-US" dirty="0">
                <a:solidFill>
                  <a:srgbClr val="222222"/>
                </a:solidFill>
                <a:ea typeface="Helvetica Neue Light"/>
              </a:rPr>
              <a:t>Entry Event:</a:t>
            </a:r>
          </a:p>
          <a:p>
            <a:pPr marL="800100" lvl="1" indent="-342900">
              <a:buFont typeface="Arial" panose="020B0604020202020204" pitchFamily="34" charset="0"/>
              <a:buChar char="•"/>
            </a:pPr>
            <a:r>
              <a:rPr lang="en-US" dirty="0">
                <a:solidFill>
                  <a:srgbClr val="222222"/>
                </a:solidFill>
                <a:ea typeface="Helvetica Neue Light"/>
              </a:rPr>
              <a:t>When using Salesforce Data Entry – always select SF Data option</a:t>
            </a:r>
          </a:p>
          <a:p>
            <a:pPr marL="800100" lvl="1" indent="-342900">
              <a:buFont typeface="Arial" panose="020B0604020202020204" pitchFamily="34" charset="0"/>
              <a:buChar char="•"/>
            </a:pPr>
            <a:r>
              <a:rPr lang="en-US" dirty="0">
                <a:solidFill>
                  <a:srgbClr val="222222"/>
                </a:solidFill>
                <a:ea typeface="Helvetica Neue Light"/>
              </a:rPr>
              <a:t>Related Object Activity attributes will not send in a new Journey member only the primary object</a:t>
            </a:r>
          </a:p>
          <a:p>
            <a:pPr marL="800100" lvl="1" indent="-342900">
              <a:buFont typeface="Arial" panose="020B0604020202020204" pitchFamily="34" charset="0"/>
              <a:buChar char="•"/>
            </a:pPr>
            <a:r>
              <a:rPr lang="en-US" dirty="0">
                <a:solidFill>
                  <a:srgbClr val="222222"/>
                </a:solidFill>
                <a:ea typeface="Helvetica Neue Light"/>
              </a:rPr>
              <a:t>Lookup and custom fields may not send a new Journey member in when updated in CRM</a:t>
            </a:r>
          </a:p>
          <a:p>
            <a:pPr marL="800100" lvl="1" indent="-342900">
              <a:buFont typeface="Arial" panose="020B0604020202020204" pitchFamily="34" charset="0"/>
              <a:buChar char="•"/>
            </a:pPr>
            <a:r>
              <a:rPr lang="en-US" dirty="0">
                <a:solidFill>
                  <a:srgbClr val="222222"/>
                </a:solidFill>
                <a:ea typeface="Helvetica Neue Light"/>
              </a:rPr>
              <a:t>A lead/contact will not enter the journey if all required fields aren’t populated when created</a:t>
            </a:r>
          </a:p>
          <a:p>
            <a:pPr marL="800100" lvl="1" indent="-342900">
              <a:buFont typeface="Arial" panose="020B0604020202020204" pitchFamily="34" charset="0"/>
              <a:buChar char="•"/>
            </a:pPr>
            <a:r>
              <a:rPr lang="en-US" dirty="0">
                <a:solidFill>
                  <a:srgbClr val="222222"/>
                </a:solidFill>
                <a:ea typeface="Helvetica Neue Light"/>
              </a:rPr>
              <a:t>Once active to edit the SF Data entry settings, create a new version and stop the previous version</a:t>
            </a:r>
          </a:p>
          <a:p>
            <a:pPr marL="139700" indent="0">
              <a:buNone/>
            </a:pPr>
            <a:br>
              <a:rPr lang="en-US" dirty="0">
                <a:solidFill>
                  <a:srgbClr val="222222"/>
                </a:solidFill>
                <a:ea typeface="Helvetica Neue Light"/>
              </a:rPr>
            </a:br>
            <a:r>
              <a:rPr lang="en-US" dirty="0">
                <a:solidFill>
                  <a:srgbClr val="222222"/>
                </a:solidFill>
                <a:ea typeface="Helvetica Neue Light"/>
              </a:rPr>
              <a:t>Activities</a:t>
            </a:r>
          </a:p>
          <a:p>
            <a:pPr marL="800100" lvl="1" indent="-342900">
              <a:buFont typeface="Arial" panose="020B0604020202020204" pitchFamily="34" charset="0"/>
              <a:buChar char="•"/>
            </a:pPr>
            <a:r>
              <a:rPr lang="en-US" dirty="0">
                <a:solidFill>
                  <a:srgbClr val="222222"/>
                </a:solidFill>
                <a:ea typeface="Helvetica Neue Light"/>
              </a:rPr>
              <a:t>Use the Object Activity vs Task, Lead specific activities</a:t>
            </a:r>
          </a:p>
          <a:p>
            <a:pPr marL="800100" lvl="1" indent="-342900">
              <a:buFont typeface="Arial" panose="020B0604020202020204" pitchFamily="34" charset="0"/>
              <a:buChar char="•"/>
            </a:pPr>
            <a:r>
              <a:rPr lang="en-US" dirty="0">
                <a:solidFill>
                  <a:srgbClr val="222222"/>
                </a:solidFill>
                <a:ea typeface="Helvetica Neue Light"/>
              </a:rPr>
              <a:t>Decision Split: Always link the Contact data ID with the Journey data ID via the Attribute to Attribute comparison.  </a:t>
            </a:r>
            <a:r>
              <a:rPr lang="en-US" b="1" dirty="0">
                <a:solidFill>
                  <a:srgbClr val="222222"/>
                </a:solidFill>
                <a:ea typeface="Helvetica Neue Light"/>
              </a:rPr>
              <a:t>Contact data must be first!</a:t>
            </a:r>
          </a:p>
          <a:p>
            <a:pPr marL="800100" lvl="1" indent="-342900">
              <a:buFont typeface="Arial" panose="020B0604020202020204" pitchFamily="34" charset="0"/>
              <a:buChar char="•"/>
            </a:pPr>
            <a:r>
              <a:rPr lang="en-US" dirty="0">
                <a:solidFill>
                  <a:srgbClr val="222222"/>
                </a:solidFill>
                <a:ea typeface="Helvetica Neue Light"/>
              </a:rPr>
              <a:t>Be mindful of the name of the Journey when activating – you can’t change the name of an activated version</a:t>
            </a:r>
          </a:p>
          <a:p>
            <a:pPr marL="800100" lvl="1" indent="-342900">
              <a:buFont typeface="Arial" panose="020B0604020202020204" pitchFamily="34" charset="0"/>
              <a:buChar char="•"/>
            </a:pPr>
            <a:r>
              <a:rPr lang="en-US" dirty="0">
                <a:solidFill>
                  <a:srgbClr val="222222"/>
                </a:solidFill>
                <a:ea typeface="Helvetica Neue Light"/>
              </a:rPr>
              <a:t>Rebuild the journey from scratch if you have to replace the Entry event once activated</a:t>
            </a:r>
          </a:p>
        </p:txBody>
      </p:sp>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Journey tips</a:t>
            </a:r>
            <a:endParaRPr dirty="0"/>
          </a:p>
        </p:txBody>
      </p:sp>
    </p:spTree>
    <p:extLst>
      <p:ext uri="{BB962C8B-B14F-4D97-AF65-F5344CB8AC3E}">
        <p14:creationId xmlns:p14="http://schemas.microsoft.com/office/powerpoint/2010/main" val="42189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37"/>
        <p:cNvGrpSpPr/>
        <p:nvPr/>
      </p:nvGrpSpPr>
      <p:grpSpPr>
        <a:xfrm>
          <a:off x="0" y="0"/>
          <a:ext cx="0" cy="0"/>
          <a:chOff x="0" y="0"/>
          <a:chExt cx="0" cy="0"/>
        </a:xfrm>
      </p:grpSpPr>
      <p:sp>
        <p:nvSpPr>
          <p:cNvPr id="438" name="Google Shape;438;p57"/>
          <p:cNvSpPr txBox="1"/>
          <p:nvPr/>
        </p:nvSpPr>
        <p:spPr>
          <a:xfrm>
            <a:off x="342375" y="3470925"/>
            <a:ext cx="4635900" cy="11922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1100"/>
              <a:buFont typeface="Arial"/>
              <a:buNone/>
            </a:pPr>
            <a:r>
              <a:rPr lang="en-US" b="1" dirty="0">
                <a:solidFill>
                  <a:srgbClr val="12191B"/>
                </a:solidFill>
                <a:latin typeface="Overpass"/>
                <a:ea typeface="Overpass"/>
                <a:cs typeface="Overpass"/>
                <a:sym typeface="Overpass"/>
              </a:rPr>
              <a:t>Tim Ziter - Cervello</a:t>
            </a:r>
            <a:endParaRPr b="1" dirty="0">
              <a:solidFill>
                <a:srgbClr val="12191B"/>
              </a:solidFill>
              <a:latin typeface="Overpass"/>
              <a:ea typeface="Overpass"/>
              <a:cs typeface="Overpass"/>
              <a:sym typeface="Overpass"/>
            </a:endParaRPr>
          </a:p>
          <a:p>
            <a:pPr marL="0" lvl="0" indent="0" algn="l" rtl="0">
              <a:lnSpc>
                <a:spcPct val="90000"/>
              </a:lnSpc>
              <a:spcBef>
                <a:spcPts val="0"/>
              </a:spcBef>
              <a:spcAft>
                <a:spcPts val="0"/>
              </a:spcAft>
              <a:buClr>
                <a:schemeClr val="dk1"/>
              </a:buClr>
              <a:buSzPts val="1100"/>
              <a:buFont typeface="Arial"/>
              <a:buNone/>
            </a:pPr>
            <a:r>
              <a:rPr lang="en" dirty="0">
                <a:solidFill>
                  <a:srgbClr val="4A0A77"/>
                </a:solidFill>
                <a:latin typeface="Overpass"/>
                <a:ea typeface="Overpass"/>
                <a:cs typeface="Overpass"/>
                <a:sym typeface="Overpass"/>
              </a:rPr>
              <a:t>tziter@mycervello.com</a:t>
            </a:r>
            <a:br>
              <a:rPr lang="en" dirty="0">
                <a:solidFill>
                  <a:srgbClr val="4A0A77"/>
                </a:solidFill>
                <a:latin typeface="Overpass"/>
                <a:ea typeface="Overpass"/>
                <a:cs typeface="Overpass"/>
                <a:sym typeface="Overpass"/>
              </a:rPr>
            </a:br>
            <a:br>
              <a:rPr lang="en" dirty="0">
                <a:solidFill>
                  <a:srgbClr val="4A0A77"/>
                </a:solidFill>
                <a:latin typeface="Overpass"/>
                <a:ea typeface="Overpass"/>
                <a:cs typeface="Overpass"/>
                <a:sym typeface="Overpass"/>
              </a:rPr>
            </a:br>
            <a:endParaRPr dirty="0">
              <a:solidFill>
                <a:srgbClr val="12191B"/>
              </a:solidFill>
              <a:latin typeface="Overpass"/>
              <a:ea typeface="Overpass"/>
              <a:cs typeface="Overpass"/>
              <a:sym typeface="Overpass"/>
            </a:endParaRPr>
          </a:p>
          <a:p>
            <a:pPr marL="0" lvl="0" indent="0" algn="l" rtl="0">
              <a:lnSpc>
                <a:spcPct val="90000"/>
              </a:lnSpc>
              <a:spcBef>
                <a:spcPts val="0"/>
              </a:spcBef>
              <a:spcAft>
                <a:spcPts val="0"/>
              </a:spcAft>
              <a:buClr>
                <a:schemeClr val="dk1"/>
              </a:buClr>
              <a:buSzPts val="1100"/>
              <a:buFont typeface="Arial"/>
              <a:buNone/>
            </a:pPr>
            <a:endParaRPr dirty="0">
              <a:solidFill>
                <a:srgbClr val="12191B"/>
              </a:solidFill>
              <a:latin typeface="Overpass"/>
              <a:ea typeface="Overpass"/>
              <a:cs typeface="Overpass"/>
              <a:sym typeface="Overpass"/>
            </a:endParaRPr>
          </a:p>
          <a:p>
            <a:pPr marL="0" lvl="0" indent="0" algn="l" rtl="0">
              <a:lnSpc>
                <a:spcPct val="90000"/>
              </a:lnSpc>
              <a:spcBef>
                <a:spcPts val="0"/>
              </a:spcBef>
              <a:spcAft>
                <a:spcPts val="0"/>
              </a:spcAft>
              <a:buClr>
                <a:schemeClr val="dk1"/>
              </a:buClr>
              <a:buSzPts val="1100"/>
              <a:buFont typeface="Arial"/>
              <a:buNone/>
            </a:pPr>
            <a:endParaRPr dirty="0">
              <a:solidFill>
                <a:srgbClr val="4A0A77"/>
              </a:solidFill>
              <a:latin typeface="Overpass"/>
              <a:ea typeface="Overpass"/>
              <a:cs typeface="Overpass"/>
              <a:sym typeface="Overpass"/>
            </a:endParaRPr>
          </a:p>
          <a:p>
            <a:pPr marL="0" lvl="0" indent="0" algn="l" rtl="0">
              <a:lnSpc>
                <a:spcPct val="90000"/>
              </a:lnSpc>
              <a:spcBef>
                <a:spcPts val="0"/>
              </a:spcBef>
              <a:spcAft>
                <a:spcPts val="0"/>
              </a:spcAft>
              <a:buClr>
                <a:schemeClr val="dk1"/>
              </a:buClr>
              <a:buSzPts val="1100"/>
              <a:buFont typeface="Arial"/>
              <a:buNone/>
            </a:pPr>
            <a:endParaRPr dirty="0">
              <a:solidFill>
                <a:srgbClr val="12191B"/>
              </a:solidFill>
              <a:latin typeface="Overpass"/>
              <a:ea typeface="Overpass"/>
              <a:cs typeface="Overpass"/>
              <a:sym typeface="Overpass"/>
            </a:endParaRPr>
          </a:p>
          <a:p>
            <a:pPr marL="0" lvl="0" indent="0" algn="l" rtl="0">
              <a:lnSpc>
                <a:spcPct val="90000"/>
              </a:lnSpc>
              <a:spcBef>
                <a:spcPts val="0"/>
              </a:spcBef>
              <a:spcAft>
                <a:spcPts val="0"/>
              </a:spcAft>
              <a:buNone/>
            </a:pPr>
            <a:endParaRPr dirty="0">
              <a:solidFill>
                <a:srgbClr val="12191B"/>
              </a:solidFill>
              <a:latin typeface="Overpass"/>
              <a:ea typeface="Overpass"/>
              <a:cs typeface="Overpass"/>
              <a:sym typeface="Overpas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extLst>
              <p:ext uri="{D42A27DB-BD31-4B8C-83A1-F6EECF244321}">
                <p14:modId xmlns:p14="http://schemas.microsoft.com/office/powerpoint/2010/main" val="19400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4" name="Google Shape;404;p52"/>
          <p:cNvSpPr txBox="1">
            <a:spLocks noGrp="1"/>
          </p:cNvSpPr>
          <p:nvPr>
            <p:ph type="body" idx="1"/>
          </p:nvPr>
        </p:nvSpPr>
        <p:spPr>
          <a:xfrm>
            <a:off x="311700" y="1298130"/>
            <a:ext cx="5328449" cy="2966371"/>
          </a:xfrm>
          <a:prstGeom prst="rect">
            <a:avLst/>
          </a:prstGeom>
        </p:spPr>
        <p:txBody>
          <a:bodyPr spcFirstLastPara="1" wrap="square" lIns="91425" tIns="91425" rIns="91425" bIns="91425" anchor="t" anchorCtr="0">
            <a:normAutofit fontScale="47500" lnSpcReduction="20000"/>
          </a:bodyPr>
          <a:lstStyle/>
          <a:p>
            <a:pPr marL="0" indent="0">
              <a:buNone/>
            </a:pPr>
            <a:r>
              <a:rPr lang="en-US" sz="2800" dirty="0">
                <a:solidFill>
                  <a:srgbClr val="222222"/>
                </a:solidFill>
                <a:ea typeface="Helvetica Neue Light"/>
              </a:rPr>
              <a:t>Cervello Bank is looking to grow their commercial banking business.  They’ve invested in an all-out marketing blitz that has generated a large amount of leads but not seeing client conversion.</a:t>
            </a:r>
          </a:p>
          <a:p>
            <a:pPr marL="0" indent="0">
              <a:buNone/>
            </a:pPr>
            <a:endParaRPr lang="en-US" sz="2800" dirty="0">
              <a:solidFill>
                <a:srgbClr val="222222"/>
              </a:solidFill>
              <a:ea typeface="Helvetica Neue Light"/>
            </a:endParaRPr>
          </a:p>
          <a:p>
            <a:pPr marL="0" indent="0">
              <a:buNone/>
            </a:pPr>
            <a:endParaRPr lang="en-US" sz="2800" dirty="0">
              <a:solidFill>
                <a:srgbClr val="222222"/>
              </a:solidFill>
              <a:ea typeface="Helvetica Neue Light"/>
            </a:endParaRPr>
          </a:p>
          <a:p>
            <a:pPr marL="0" indent="0">
              <a:buNone/>
            </a:pPr>
            <a:endParaRPr lang="en-US" sz="2800" dirty="0">
              <a:solidFill>
                <a:srgbClr val="222222"/>
              </a:solidFill>
              <a:ea typeface="Helvetica Neue Light"/>
            </a:endParaRPr>
          </a:p>
          <a:p>
            <a:pPr marL="0" indent="0">
              <a:buNone/>
            </a:pPr>
            <a:endParaRPr lang="en-US" sz="2800" dirty="0">
              <a:solidFill>
                <a:srgbClr val="222222"/>
              </a:solidFill>
              <a:ea typeface="Helvetica Neue Light"/>
            </a:endParaRPr>
          </a:p>
          <a:p>
            <a:pPr marL="0" indent="0">
              <a:buNone/>
            </a:pPr>
            <a:r>
              <a:rPr lang="en-US" sz="2800" dirty="0">
                <a:solidFill>
                  <a:srgbClr val="222222"/>
                </a:solidFill>
                <a:ea typeface="Helvetica Neue Light"/>
              </a:rPr>
              <a:t>Sales is swamped and aren’t motivated to follow up on the un-qualified lead for months at which point they are cold and not productive.  </a:t>
            </a:r>
            <a:br>
              <a:rPr lang="en-US" sz="2800" dirty="0">
                <a:solidFill>
                  <a:srgbClr val="222222"/>
                </a:solidFill>
                <a:ea typeface="Helvetica Neue Light"/>
              </a:rPr>
            </a:br>
            <a:endParaRPr lang="en-US" sz="2800" dirty="0">
              <a:solidFill>
                <a:srgbClr val="222222"/>
              </a:solidFill>
              <a:ea typeface="Helvetica Neue Light"/>
            </a:endParaRPr>
          </a:p>
          <a:p>
            <a:pPr marL="0" indent="0">
              <a:buNone/>
            </a:pPr>
            <a:r>
              <a:rPr lang="en-US" sz="2800" dirty="0">
                <a:solidFill>
                  <a:srgbClr val="222222"/>
                </a:solidFill>
                <a:ea typeface="Helvetica Neue Light"/>
              </a:rPr>
              <a:t>Marketing needs an automated solution that qualifies leads and supports sales to drive bottom funnel conversion.</a:t>
            </a:r>
          </a:p>
          <a:p>
            <a:pPr marL="0" indent="0">
              <a:spcAft>
                <a:spcPts val="1200"/>
              </a:spcAft>
              <a:buNone/>
            </a:pPr>
            <a:endParaRPr dirty="0"/>
          </a:p>
        </p:txBody>
      </p:sp>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Case Study: Overview</a:t>
            </a:r>
            <a:endParaRPr dirty="0"/>
          </a:p>
        </p:txBody>
      </p:sp>
      <p:pic>
        <p:nvPicPr>
          <p:cNvPr id="18" name="Picture 6" descr="Conversion Rate Optimization Tool Hand turning optimization knob up to 100 percent and dial indicating conversion rate metrics. CRO concept. Composite image between a hand photography and a 3D background. generate leads stock pictures, royalty-free photos &amp; images">
            <a:extLst>
              <a:ext uri="{FF2B5EF4-FFF2-40B4-BE49-F238E27FC236}">
                <a16:creationId xmlns:a16="http://schemas.microsoft.com/office/drawing/2014/main" id="{F667CD4C-0CEF-4B0C-B562-C3737B8F245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57706" y="1298131"/>
            <a:ext cx="3074593" cy="151720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EC685F05-2660-43A6-BEF2-F20EEBE7151A}"/>
              </a:ext>
            </a:extLst>
          </p:cNvPr>
          <p:cNvSpPr/>
          <p:nvPr/>
        </p:nvSpPr>
        <p:spPr>
          <a:xfrm>
            <a:off x="408805" y="2441278"/>
            <a:ext cx="4795207" cy="374054"/>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r>
              <a:rPr lang="en-US" sz="2000" dirty="0">
                <a:solidFill>
                  <a:srgbClr val="222222"/>
                </a:solidFill>
                <a:ea typeface="Helvetica Neue Light"/>
              </a:rPr>
              <a:t>Problem</a:t>
            </a:r>
          </a:p>
          <a:p>
            <a:endParaRPr lang="en-US" sz="2000" dirty="0">
              <a:solidFill>
                <a:srgbClr val="222222"/>
              </a:solidFill>
              <a:ea typeface="Helvetica Neue Light"/>
            </a:endParaRPr>
          </a:p>
          <a:p>
            <a:pPr marL="285750" lvl="2" indent="-285750">
              <a:buFont typeface="Arial" panose="020B0604020202020204" pitchFamily="34" charset="0"/>
              <a:buChar char="•"/>
            </a:pPr>
            <a:endParaRPr lang="en-US" dirty="0">
              <a:solidFill>
                <a:srgbClr val="222222"/>
              </a:solidFill>
              <a:ea typeface="Helvetica Neue Light"/>
            </a:endParaRPr>
          </a:p>
        </p:txBody>
      </p:sp>
    </p:spTree>
    <p:extLst>
      <p:ext uri="{BB962C8B-B14F-4D97-AF65-F5344CB8AC3E}">
        <p14:creationId xmlns:p14="http://schemas.microsoft.com/office/powerpoint/2010/main" val="2778287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4" name="Google Shape;404;p52"/>
          <p:cNvSpPr txBox="1">
            <a:spLocks noGrp="1"/>
          </p:cNvSpPr>
          <p:nvPr>
            <p:ph type="body" idx="1"/>
          </p:nvPr>
        </p:nvSpPr>
        <p:spPr>
          <a:xfrm>
            <a:off x="70540" y="1429022"/>
            <a:ext cx="6069004" cy="2716141"/>
          </a:xfrm>
          <a:prstGeom prst="rect">
            <a:avLst/>
          </a:prstGeom>
        </p:spPr>
        <p:txBody>
          <a:bodyPr spcFirstLastPara="1" wrap="square" lIns="91425" tIns="91425" rIns="91425" bIns="91425" anchor="t" anchorCtr="0">
            <a:normAutofit/>
          </a:bodyPr>
          <a:lstStyle/>
          <a:p>
            <a:pPr marL="0" indent="0">
              <a:buNone/>
            </a:pPr>
            <a:endParaRPr lang="en-US" sz="2300" dirty="0">
              <a:solidFill>
                <a:srgbClr val="222222"/>
              </a:solidFill>
              <a:ea typeface="Helvetica Neue Light"/>
            </a:endParaRPr>
          </a:p>
          <a:p>
            <a:pPr marL="742950" lvl="1" indent="-285750">
              <a:buFont typeface="Arial" panose="020B0604020202020204" pitchFamily="34" charset="0"/>
              <a:buChar char="•"/>
            </a:pPr>
            <a:r>
              <a:rPr lang="en-US" sz="1500" dirty="0">
                <a:solidFill>
                  <a:srgbClr val="222222"/>
                </a:solidFill>
                <a:ea typeface="Helvetica Neue Light"/>
              </a:rPr>
              <a:t>Rank/prioritize leads into easy-to-understand buckets</a:t>
            </a:r>
          </a:p>
          <a:p>
            <a:pPr marL="742950" lvl="1" indent="-285750">
              <a:buFont typeface="Arial" panose="020B0604020202020204" pitchFamily="34" charset="0"/>
              <a:buChar char="•"/>
            </a:pPr>
            <a:r>
              <a:rPr lang="en-US" sz="1500" dirty="0">
                <a:solidFill>
                  <a:srgbClr val="222222"/>
                </a:solidFill>
                <a:ea typeface="Helvetica Neue Light"/>
              </a:rPr>
              <a:t>Nurture leads to keep them warm</a:t>
            </a:r>
          </a:p>
          <a:p>
            <a:pPr marL="742950" lvl="1" indent="-285750">
              <a:buFont typeface="Arial" panose="020B0604020202020204" pitchFamily="34" charset="0"/>
              <a:buChar char="•"/>
            </a:pPr>
            <a:r>
              <a:rPr lang="en-US" sz="1500" dirty="0">
                <a:solidFill>
                  <a:srgbClr val="222222"/>
                </a:solidFill>
                <a:ea typeface="Helvetica Neue Light"/>
              </a:rPr>
              <a:t>Notify sales to follow up on “Hot” leads</a:t>
            </a:r>
          </a:p>
          <a:p>
            <a:pPr marL="742950" lvl="1" indent="-285750">
              <a:buFont typeface="Arial" panose="020B0604020202020204" pitchFamily="34" charset="0"/>
              <a:buChar char="•"/>
            </a:pPr>
            <a:r>
              <a:rPr lang="en-US" sz="1500" dirty="0">
                <a:solidFill>
                  <a:srgbClr val="222222"/>
                </a:solidFill>
                <a:ea typeface="Helvetica Neue Light"/>
              </a:rPr>
              <a:t>“Always On” automated solution</a:t>
            </a:r>
          </a:p>
          <a:p>
            <a:pPr marL="0" indent="0">
              <a:spcAft>
                <a:spcPts val="1200"/>
              </a:spcAft>
              <a:buNone/>
            </a:pPr>
            <a:endParaRPr dirty="0"/>
          </a:p>
        </p:txBody>
      </p:sp>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Case Study: Overview</a:t>
            </a:r>
            <a:endParaRPr dirty="0"/>
          </a:p>
        </p:txBody>
      </p:sp>
      <p:sp>
        <p:nvSpPr>
          <p:cNvPr id="20" name="Rectangle 19">
            <a:extLst>
              <a:ext uri="{FF2B5EF4-FFF2-40B4-BE49-F238E27FC236}">
                <a16:creationId xmlns:a16="http://schemas.microsoft.com/office/drawing/2014/main" id="{EC685F05-2660-43A6-BEF2-F20EEBE7151A}"/>
              </a:ext>
            </a:extLst>
          </p:cNvPr>
          <p:cNvSpPr/>
          <p:nvPr/>
        </p:nvSpPr>
        <p:spPr>
          <a:xfrm>
            <a:off x="559733" y="1364406"/>
            <a:ext cx="5114864" cy="374054"/>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r>
              <a:rPr lang="en-US" sz="2000" dirty="0">
                <a:solidFill>
                  <a:srgbClr val="222222"/>
                </a:solidFill>
                <a:ea typeface="Helvetica Neue Light"/>
              </a:rPr>
              <a:t>Solution</a:t>
            </a:r>
          </a:p>
          <a:p>
            <a:endParaRPr lang="en-US" sz="2000" dirty="0">
              <a:solidFill>
                <a:srgbClr val="222222"/>
              </a:solidFill>
              <a:ea typeface="Helvetica Neue Light"/>
            </a:endParaRPr>
          </a:p>
          <a:p>
            <a:pPr marL="285750" lvl="2" indent="-285750">
              <a:buFont typeface="Arial" panose="020B0604020202020204" pitchFamily="34" charset="0"/>
              <a:buChar char="•"/>
            </a:pPr>
            <a:endParaRPr lang="en-US" dirty="0">
              <a:solidFill>
                <a:srgbClr val="222222"/>
              </a:solidFill>
              <a:ea typeface="Helvetica Neue Light"/>
            </a:endParaRPr>
          </a:p>
        </p:txBody>
      </p:sp>
      <p:pic>
        <p:nvPicPr>
          <p:cNvPr id="7" name="Picture 2" descr="How Marketing Automation can create value in the customer journey">
            <a:extLst>
              <a:ext uri="{FF2B5EF4-FFF2-40B4-BE49-F238E27FC236}">
                <a16:creationId xmlns:a16="http://schemas.microsoft.com/office/drawing/2014/main" id="{C7C44012-34AF-4A41-AB3B-E15A72A847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74597" y="1338590"/>
            <a:ext cx="3398863" cy="2203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11396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extLst>
              <p:ext uri="{D42A27DB-BD31-4B8C-83A1-F6EECF244321}">
                <p14:modId xmlns:p14="http://schemas.microsoft.com/office/powerpoint/2010/main" val="3686202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4" name="Google Shape;404;p52"/>
          <p:cNvSpPr txBox="1">
            <a:spLocks noGrp="1"/>
          </p:cNvSpPr>
          <p:nvPr>
            <p:ph type="body" idx="1"/>
          </p:nvPr>
        </p:nvSpPr>
        <p:spPr>
          <a:xfrm>
            <a:off x="-220862" y="1273968"/>
            <a:ext cx="3104739" cy="2595564"/>
          </a:xfrm>
          <a:prstGeom prst="rect">
            <a:avLst/>
          </a:prstGeom>
        </p:spPr>
        <p:txBody>
          <a:bodyPr spcFirstLastPara="1" wrap="square" lIns="91425" tIns="91425" rIns="91425" bIns="91425" anchor="t" anchorCtr="0">
            <a:normAutofit fontScale="77500" lnSpcReduction="20000"/>
          </a:bodyPr>
          <a:lstStyle/>
          <a:p>
            <a:pPr marL="457200" lvl="1" indent="0">
              <a:buNone/>
            </a:pPr>
            <a:r>
              <a:rPr lang="en-US" sz="2000" dirty="0">
                <a:solidFill>
                  <a:srgbClr val="222222"/>
                </a:solidFill>
                <a:ea typeface="Helvetica Neue Light"/>
              </a:rPr>
              <a:t>Sales Cloud</a:t>
            </a:r>
          </a:p>
          <a:p>
            <a:pPr marL="800100" lvl="1" indent="-342900">
              <a:buFont typeface="Arial" panose="020B0604020202020204" pitchFamily="34" charset="0"/>
              <a:buChar char="•"/>
            </a:pPr>
            <a:r>
              <a:rPr lang="en-US" sz="2000" dirty="0">
                <a:solidFill>
                  <a:srgbClr val="222222"/>
                </a:solidFill>
                <a:ea typeface="Helvetica Neue Light"/>
              </a:rPr>
              <a:t>Lead &amp; ABM ranking </a:t>
            </a:r>
          </a:p>
          <a:p>
            <a:pPr marL="457200" lvl="1" indent="0">
              <a:buNone/>
            </a:pPr>
            <a:endParaRPr lang="en-US" sz="2000" dirty="0">
              <a:solidFill>
                <a:srgbClr val="222222"/>
              </a:solidFill>
              <a:ea typeface="Helvetica Neue Light"/>
            </a:endParaRPr>
          </a:p>
          <a:p>
            <a:pPr marL="457200" lvl="1" indent="0">
              <a:buNone/>
            </a:pPr>
            <a:r>
              <a:rPr lang="en-US" sz="2000" dirty="0">
                <a:solidFill>
                  <a:srgbClr val="222222"/>
                </a:solidFill>
                <a:ea typeface="Helvetica Neue Light"/>
              </a:rPr>
              <a:t>Marketing Cloud</a:t>
            </a:r>
          </a:p>
          <a:p>
            <a:pPr marL="800100" lvl="1" indent="-342900">
              <a:buFont typeface="Arial" panose="020B0604020202020204" pitchFamily="34" charset="0"/>
              <a:buChar char="•"/>
            </a:pPr>
            <a:r>
              <a:rPr lang="en-US" sz="2000" dirty="0">
                <a:solidFill>
                  <a:srgbClr val="222222"/>
                </a:solidFill>
                <a:ea typeface="Helvetica Neue Light"/>
              </a:rPr>
              <a:t>Sort leads</a:t>
            </a:r>
          </a:p>
          <a:p>
            <a:pPr marL="800100" lvl="1" indent="-342900">
              <a:buFont typeface="Arial" panose="020B0604020202020204" pitchFamily="34" charset="0"/>
              <a:buChar char="•"/>
            </a:pPr>
            <a:r>
              <a:rPr lang="en-US" sz="2000" dirty="0">
                <a:solidFill>
                  <a:srgbClr val="222222"/>
                </a:solidFill>
                <a:ea typeface="Helvetica Neue Light"/>
              </a:rPr>
              <a:t>Custom paths</a:t>
            </a:r>
          </a:p>
          <a:p>
            <a:pPr marL="800100" lvl="1" indent="-342900">
              <a:buFont typeface="Arial" panose="020B0604020202020204" pitchFamily="34" charset="0"/>
              <a:buChar char="•"/>
            </a:pPr>
            <a:r>
              <a:rPr lang="en-US" sz="2000" dirty="0">
                <a:solidFill>
                  <a:srgbClr val="222222"/>
                </a:solidFill>
                <a:ea typeface="Helvetica Neue Light"/>
              </a:rPr>
              <a:t>Create tasks</a:t>
            </a:r>
          </a:p>
          <a:p>
            <a:pPr marL="800100" lvl="1" indent="-342900">
              <a:buFont typeface="Arial" panose="020B0604020202020204" pitchFamily="34" charset="0"/>
              <a:buChar char="•"/>
            </a:pPr>
            <a:r>
              <a:rPr lang="en-US" sz="2000" dirty="0">
                <a:solidFill>
                  <a:srgbClr val="222222"/>
                </a:solidFill>
                <a:ea typeface="Helvetica Neue Light"/>
              </a:rPr>
              <a:t>HOT lead email</a:t>
            </a:r>
          </a:p>
          <a:p>
            <a:pPr marL="800100" lvl="1" indent="-342900">
              <a:buFont typeface="Arial" panose="020B0604020202020204" pitchFamily="34" charset="0"/>
              <a:buChar char="•"/>
            </a:pPr>
            <a:r>
              <a:rPr lang="en-US" sz="2000" dirty="0">
                <a:solidFill>
                  <a:srgbClr val="222222"/>
                </a:solidFill>
                <a:ea typeface="Helvetica Neue Light"/>
              </a:rPr>
              <a:t>Nurture leads</a:t>
            </a:r>
          </a:p>
          <a:p>
            <a:pPr marL="800100" lvl="1" indent="-342900">
              <a:buFont typeface="Arial" panose="020B0604020202020204" pitchFamily="34" charset="0"/>
              <a:buChar char="•"/>
            </a:pPr>
            <a:r>
              <a:rPr lang="en-US" sz="2000" dirty="0">
                <a:solidFill>
                  <a:srgbClr val="222222"/>
                </a:solidFill>
                <a:ea typeface="Helvetica Neue Light"/>
              </a:rPr>
              <a:t>Integrate with sales</a:t>
            </a:r>
            <a:endParaRPr dirty="0"/>
          </a:p>
        </p:txBody>
      </p:sp>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Case Study: Flow</a:t>
            </a:r>
            <a:endParaRPr dirty="0"/>
          </a:p>
        </p:txBody>
      </p:sp>
      <p:pic>
        <p:nvPicPr>
          <p:cNvPr id="8" name="Picture 7" descr="Diagram&#10;&#10;Description automatically generated">
            <a:extLst>
              <a:ext uri="{FF2B5EF4-FFF2-40B4-BE49-F238E27FC236}">
                <a16:creationId xmlns:a16="http://schemas.microsoft.com/office/drawing/2014/main" id="{662CEF40-7559-4310-AD29-B4EE03DA0C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00870" y="1015724"/>
            <a:ext cx="6543130" cy="3774737"/>
          </a:xfrm>
          <a:prstGeom prst="rect">
            <a:avLst/>
          </a:prstGeom>
        </p:spPr>
      </p:pic>
    </p:spTree>
    <p:extLst>
      <p:ext uri="{BB962C8B-B14F-4D97-AF65-F5344CB8AC3E}">
        <p14:creationId xmlns:p14="http://schemas.microsoft.com/office/powerpoint/2010/main" val="15695752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extLst>
              <p:ext uri="{D42A27DB-BD31-4B8C-83A1-F6EECF244321}">
                <p14:modId xmlns:p14="http://schemas.microsoft.com/office/powerpoint/2010/main" val="2629769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4" name="Google Shape;404;p52"/>
          <p:cNvSpPr txBox="1">
            <a:spLocks noGrp="1"/>
          </p:cNvSpPr>
          <p:nvPr>
            <p:ph type="body" idx="1"/>
          </p:nvPr>
        </p:nvSpPr>
        <p:spPr>
          <a:xfrm>
            <a:off x="840123" y="1861557"/>
            <a:ext cx="3997618" cy="1247404"/>
          </a:xfrm>
          <a:prstGeom prst="rect">
            <a:avLst/>
          </a:prstGeom>
        </p:spPr>
        <p:txBody>
          <a:bodyPr spcFirstLastPara="1" wrap="square" lIns="91425" tIns="91425" rIns="91425" bIns="91425" anchor="t" anchorCtr="0">
            <a:normAutofit/>
          </a:bodyPr>
          <a:lstStyle/>
          <a:p>
            <a:pPr marL="457200" lvl="1" indent="0">
              <a:buNone/>
            </a:pPr>
            <a:r>
              <a:rPr lang="en-US" sz="1600" dirty="0">
                <a:solidFill>
                  <a:srgbClr val="222222"/>
                </a:solidFill>
                <a:ea typeface="Helvetica Neue Light"/>
              </a:rPr>
              <a:t>Simple lead ranking solution</a:t>
            </a:r>
          </a:p>
          <a:p>
            <a:pPr marL="800100" lvl="1" indent="-342900">
              <a:buFont typeface="Arial" panose="020B0604020202020204" pitchFamily="34" charset="0"/>
              <a:buChar char="•"/>
            </a:pPr>
            <a:r>
              <a:rPr lang="en-US" sz="1600" dirty="0">
                <a:solidFill>
                  <a:srgbClr val="222222"/>
                </a:solidFill>
                <a:ea typeface="Helvetica Neue Light"/>
              </a:rPr>
              <a:t>Hot, Warm, Cold</a:t>
            </a:r>
          </a:p>
          <a:p>
            <a:pPr marL="800100" lvl="1" indent="-342900">
              <a:buFont typeface="Arial" panose="020B0604020202020204" pitchFamily="34" charset="0"/>
              <a:buChar char="•"/>
            </a:pPr>
            <a:r>
              <a:rPr lang="en-US" sz="1600" dirty="0">
                <a:solidFill>
                  <a:srgbClr val="222222"/>
                </a:solidFill>
                <a:ea typeface="Helvetica Neue Light"/>
              </a:rPr>
              <a:t>Intent tagging</a:t>
            </a:r>
          </a:p>
        </p:txBody>
      </p:sp>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err="1"/>
              <a:t>Martech</a:t>
            </a:r>
            <a:r>
              <a:rPr lang="en-US" dirty="0"/>
              <a:t> Tools - Ranking</a:t>
            </a:r>
            <a:endParaRPr dirty="0"/>
          </a:p>
        </p:txBody>
      </p:sp>
      <p:pic>
        <p:nvPicPr>
          <p:cNvPr id="6" name="Picture 5">
            <a:extLst>
              <a:ext uri="{FF2B5EF4-FFF2-40B4-BE49-F238E27FC236}">
                <a16:creationId xmlns:a16="http://schemas.microsoft.com/office/drawing/2014/main" id="{09C4016D-247C-4C65-B11C-0CB7B14D11FD}"/>
              </a:ext>
            </a:extLst>
          </p:cNvPr>
          <p:cNvPicPr>
            <a:picLocks noChangeAspect="1"/>
          </p:cNvPicPr>
          <p:nvPr/>
        </p:nvPicPr>
        <p:blipFill>
          <a:blip r:embed="rId6"/>
          <a:stretch>
            <a:fillRect/>
          </a:stretch>
        </p:blipFill>
        <p:spPr>
          <a:xfrm>
            <a:off x="660062" y="3095198"/>
            <a:ext cx="3997618" cy="1271692"/>
          </a:xfrm>
          <a:prstGeom prst="rect">
            <a:avLst/>
          </a:prstGeom>
          <a:ln>
            <a:solidFill>
              <a:schemeClr val="accent1"/>
            </a:solidFill>
          </a:ln>
        </p:spPr>
      </p:pic>
      <p:pic>
        <p:nvPicPr>
          <p:cNvPr id="7" name="Picture 6">
            <a:extLst>
              <a:ext uri="{FF2B5EF4-FFF2-40B4-BE49-F238E27FC236}">
                <a16:creationId xmlns:a16="http://schemas.microsoft.com/office/drawing/2014/main" id="{354F70C2-1727-4078-B2E3-B9F910077140}"/>
              </a:ext>
            </a:extLst>
          </p:cNvPr>
          <p:cNvPicPr>
            <a:picLocks noChangeAspect="1"/>
          </p:cNvPicPr>
          <p:nvPr/>
        </p:nvPicPr>
        <p:blipFill>
          <a:blip r:embed="rId7"/>
          <a:stretch>
            <a:fillRect/>
          </a:stretch>
        </p:blipFill>
        <p:spPr>
          <a:xfrm>
            <a:off x="5017801" y="3082966"/>
            <a:ext cx="3499477" cy="1283924"/>
          </a:xfrm>
          <a:prstGeom prst="rect">
            <a:avLst/>
          </a:prstGeom>
          <a:ln>
            <a:solidFill>
              <a:schemeClr val="accent1"/>
            </a:solidFill>
          </a:ln>
        </p:spPr>
      </p:pic>
      <p:pic>
        <p:nvPicPr>
          <p:cNvPr id="9" name="Picture 2">
            <a:extLst>
              <a:ext uri="{FF2B5EF4-FFF2-40B4-BE49-F238E27FC236}">
                <a16:creationId xmlns:a16="http://schemas.microsoft.com/office/drawing/2014/main" id="{FE0A3DD9-896A-44EC-9312-E49B5DB22A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00734" y="1263453"/>
            <a:ext cx="2356867" cy="46103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5021E032-46F7-4391-A1C9-E7378EA4393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74474" y="1263453"/>
            <a:ext cx="2468792" cy="517976"/>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04;p52">
            <a:extLst>
              <a:ext uri="{FF2B5EF4-FFF2-40B4-BE49-F238E27FC236}">
                <a16:creationId xmlns:a16="http://schemas.microsoft.com/office/drawing/2014/main" id="{0729FB74-A8FF-438E-86EF-530C3346F0DF}"/>
              </a:ext>
            </a:extLst>
          </p:cNvPr>
          <p:cNvSpPr txBox="1">
            <a:spLocks/>
          </p:cNvSpPr>
          <p:nvPr/>
        </p:nvSpPr>
        <p:spPr>
          <a:xfrm>
            <a:off x="5017801" y="1861557"/>
            <a:ext cx="3997618" cy="1247404"/>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1pPr>
            <a:lvl2pPr marL="914400" marR="0" lvl="1"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2pPr>
            <a:lvl3pPr marL="1371600" marR="0" lvl="2"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3pPr>
            <a:lvl4pPr marL="1828800" marR="0" lvl="3"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4pPr>
            <a:lvl5pPr marL="2286000" marR="0" lvl="4"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5pPr>
            <a:lvl6pPr marL="2743200" marR="0" lvl="5"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6pPr>
            <a:lvl7pPr marL="3200400" marR="0" lvl="6"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7pPr>
            <a:lvl8pPr marL="3657600" marR="0" lvl="7"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8pPr>
            <a:lvl9pPr marL="4114800" marR="0" lvl="8"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9pPr>
          </a:lstStyle>
          <a:p>
            <a:pPr marL="457200" lvl="1" indent="0">
              <a:buFont typeface="Open Sans"/>
              <a:buNone/>
            </a:pPr>
            <a:r>
              <a:rPr lang="en-US" sz="1600" dirty="0">
                <a:solidFill>
                  <a:srgbClr val="222222"/>
                </a:solidFill>
                <a:ea typeface="Helvetica Neue Light"/>
              </a:rPr>
              <a:t>Account based ranking</a:t>
            </a:r>
          </a:p>
          <a:p>
            <a:pPr marL="800100" lvl="1" indent="-342900">
              <a:buFont typeface="Arial" panose="020B0604020202020204" pitchFamily="34" charset="0"/>
              <a:buChar char="•"/>
            </a:pPr>
            <a:r>
              <a:rPr lang="en-US" sz="1600" dirty="0">
                <a:solidFill>
                  <a:srgbClr val="222222"/>
                </a:solidFill>
                <a:ea typeface="Helvetica Neue Light"/>
              </a:rPr>
              <a:t>Tier ranking</a:t>
            </a:r>
          </a:p>
          <a:p>
            <a:pPr marL="800100" lvl="1" indent="-342900">
              <a:buFont typeface="Arial" panose="020B0604020202020204" pitchFamily="34" charset="0"/>
              <a:buChar char="•"/>
            </a:pPr>
            <a:r>
              <a:rPr lang="en-US" sz="1600" dirty="0">
                <a:solidFill>
                  <a:srgbClr val="222222"/>
                </a:solidFill>
                <a:ea typeface="Helvetica Neue Light"/>
              </a:rPr>
              <a:t>Engagement metrics</a:t>
            </a:r>
          </a:p>
        </p:txBody>
      </p:sp>
      <p:sp>
        <p:nvSpPr>
          <p:cNvPr id="12" name="Google Shape;404;p52">
            <a:extLst>
              <a:ext uri="{FF2B5EF4-FFF2-40B4-BE49-F238E27FC236}">
                <a16:creationId xmlns:a16="http://schemas.microsoft.com/office/drawing/2014/main" id="{F47D5083-3C21-42A8-9183-BD369C13EFF4}"/>
              </a:ext>
            </a:extLst>
          </p:cNvPr>
          <p:cNvSpPr txBox="1">
            <a:spLocks/>
          </p:cNvSpPr>
          <p:nvPr/>
        </p:nvSpPr>
        <p:spPr>
          <a:xfrm>
            <a:off x="328141" y="4366890"/>
            <a:ext cx="3997618" cy="461032"/>
          </a:xfrm>
          <a:prstGeom prst="rect">
            <a:avLst/>
          </a:prstGeom>
          <a:noFill/>
          <a:ln>
            <a:noFill/>
          </a:ln>
        </p:spPr>
        <p:txBody>
          <a:bodyPr spcFirstLastPara="1" wrap="square" lIns="91425" tIns="91425" rIns="91425" bIns="91425" anchor="t" anchorCtr="0">
            <a:normAutofit lnSpcReduction="10000"/>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1pPr>
            <a:lvl2pPr marL="914400" marR="0" lvl="1"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2pPr>
            <a:lvl3pPr marL="1371600" marR="0" lvl="2"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3pPr>
            <a:lvl4pPr marL="1828800" marR="0" lvl="3"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4pPr>
            <a:lvl5pPr marL="2286000" marR="0" lvl="4"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5pPr>
            <a:lvl6pPr marL="2743200" marR="0" lvl="5"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6pPr>
            <a:lvl7pPr marL="3200400" marR="0" lvl="6"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7pPr>
            <a:lvl8pPr marL="3657600" marR="0" lvl="7"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8pPr>
            <a:lvl9pPr marL="4114800" marR="0" lvl="8"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9pPr>
          </a:lstStyle>
          <a:p>
            <a:pPr marL="457200" lvl="1" indent="0" algn="ctr">
              <a:buFont typeface="Open Sans"/>
              <a:buNone/>
            </a:pPr>
            <a:r>
              <a:rPr lang="en-US" sz="1600" dirty="0">
                <a:solidFill>
                  <a:srgbClr val="222222"/>
                </a:solidFill>
                <a:ea typeface="Helvetica Neue Light"/>
              </a:rPr>
              <a:t>Geoffrey Polli</a:t>
            </a:r>
          </a:p>
        </p:txBody>
      </p:sp>
      <p:sp>
        <p:nvSpPr>
          <p:cNvPr id="13" name="Google Shape;404;p52">
            <a:extLst>
              <a:ext uri="{FF2B5EF4-FFF2-40B4-BE49-F238E27FC236}">
                <a16:creationId xmlns:a16="http://schemas.microsoft.com/office/drawing/2014/main" id="{4AA384E9-D69C-4880-B665-8AD98D718422}"/>
              </a:ext>
            </a:extLst>
          </p:cNvPr>
          <p:cNvSpPr txBox="1">
            <a:spLocks/>
          </p:cNvSpPr>
          <p:nvPr/>
        </p:nvSpPr>
        <p:spPr>
          <a:xfrm>
            <a:off x="4657681" y="4382248"/>
            <a:ext cx="3997618" cy="461032"/>
          </a:xfrm>
          <a:prstGeom prst="rect">
            <a:avLst/>
          </a:prstGeom>
          <a:noFill/>
          <a:ln>
            <a:noFill/>
          </a:ln>
        </p:spPr>
        <p:txBody>
          <a:bodyPr spcFirstLastPara="1" wrap="square" lIns="91425" tIns="91425" rIns="91425" bIns="91425" anchor="t" anchorCtr="0">
            <a:normAutofit lnSpcReduction="10000"/>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1pPr>
            <a:lvl2pPr marL="914400" marR="0" lvl="1"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2pPr>
            <a:lvl3pPr marL="1371600" marR="0" lvl="2"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3pPr>
            <a:lvl4pPr marL="1828800" marR="0" lvl="3"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4pPr>
            <a:lvl5pPr marL="2286000" marR="0" lvl="4"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5pPr>
            <a:lvl6pPr marL="2743200" marR="0" lvl="5"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6pPr>
            <a:lvl7pPr marL="3200400" marR="0" lvl="6"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7pPr>
            <a:lvl8pPr marL="3657600" marR="0" lvl="7"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8pPr>
            <a:lvl9pPr marL="4114800" marR="0" lvl="8"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9pPr>
          </a:lstStyle>
          <a:p>
            <a:pPr marL="457200" lvl="1" indent="0" algn="ctr">
              <a:buFont typeface="Open Sans"/>
              <a:buNone/>
            </a:pPr>
            <a:r>
              <a:rPr lang="en-US" sz="1600" dirty="0">
                <a:solidFill>
                  <a:srgbClr val="222222"/>
                </a:solidFill>
                <a:ea typeface="Helvetica Neue Light"/>
              </a:rPr>
              <a:t>Tara Quehl</a:t>
            </a:r>
          </a:p>
        </p:txBody>
      </p:sp>
    </p:spTree>
    <p:extLst>
      <p:ext uri="{BB962C8B-B14F-4D97-AF65-F5344CB8AC3E}">
        <p14:creationId xmlns:p14="http://schemas.microsoft.com/office/powerpoint/2010/main" val="29293956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extLst>
              <p:ext uri="{D42A27DB-BD31-4B8C-83A1-F6EECF244321}">
                <p14:modId xmlns:p14="http://schemas.microsoft.com/office/powerpoint/2010/main" val="3848765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Ranking Overview</a:t>
            </a:r>
            <a:endParaRPr dirty="0"/>
          </a:p>
        </p:txBody>
      </p:sp>
      <p:graphicFrame>
        <p:nvGraphicFramePr>
          <p:cNvPr id="14" name="Table 3">
            <a:extLst>
              <a:ext uri="{FF2B5EF4-FFF2-40B4-BE49-F238E27FC236}">
                <a16:creationId xmlns:a16="http://schemas.microsoft.com/office/drawing/2014/main" id="{424B288B-3EC3-43C2-8F1D-0E9424B91B31}"/>
              </a:ext>
            </a:extLst>
          </p:cNvPr>
          <p:cNvGraphicFramePr>
            <a:graphicFrameLocks noGrp="1"/>
          </p:cNvGraphicFramePr>
          <p:nvPr>
            <p:extLst>
              <p:ext uri="{D42A27DB-BD31-4B8C-83A1-F6EECF244321}">
                <p14:modId xmlns:p14="http://schemas.microsoft.com/office/powerpoint/2010/main" val="2177446102"/>
              </p:ext>
            </p:extLst>
          </p:nvPr>
        </p:nvGraphicFramePr>
        <p:xfrm>
          <a:off x="411982" y="1423752"/>
          <a:ext cx="8320036" cy="2264104"/>
        </p:xfrm>
        <a:graphic>
          <a:graphicData uri="http://schemas.openxmlformats.org/drawingml/2006/table">
            <a:tbl>
              <a:tblPr firstRow="1" bandRow="1">
                <a:tableStyleId>{5C22544A-7EE6-4342-B048-85BDC9FD1C3A}</a:tableStyleId>
              </a:tblPr>
              <a:tblGrid>
                <a:gridCol w="2421653">
                  <a:extLst>
                    <a:ext uri="{9D8B030D-6E8A-4147-A177-3AD203B41FA5}">
                      <a16:colId xmlns:a16="http://schemas.microsoft.com/office/drawing/2014/main" val="2132472648"/>
                    </a:ext>
                  </a:extLst>
                </a:gridCol>
                <a:gridCol w="1457011">
                  <a:extLst>
                    <a:ext uri="{9D8B030D-6E8A-4147-A177-3AD203B41FA5}">
                      <a16:colId xmlns:a16="http://schemas.microsoft.com/office/drawing/2014/main" val="2646751700"/>
                    </a:ext>
                  </a:extLst>
                </a:gridCol>
                <a:gridCol w="1135464">
                  <a:extLst>
                    <a:ext uri="{9D8B030D-6E8A-4147-A177-3AD203B41FA5}">
                      <a16:colId xmlns:a16="http://schemas.microsoft.com/office/drawing/2014/main" val="3133990510"/>
                    </a:ext>
                  </a:extLst>
                </a:gridCol>
                <a:gridCol w="3305908">
                  <a:extLst>
                    <a:ext uri="{9D8B030D-6E8A-4147-A177-3AD203B41FA5}">
                      <a16:colId xmlns:a16="http://schemas.microsoft.com/office/drawing/2014/main" val="724902515"/>
                    </a:ext>
                  </a:extLst>
                </a:gridCol>
              </a:tblGrid>
              <a:tr h="354806">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Lead Sc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5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ABM Sc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5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Ran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5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A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50000"/>
                      </a:schemeClr>
                    </a:solidFill>
                  </a:tcPr>
                </a:tc>
                <a:extLst>
                  <a:ext uri="{0D108BD9-81ED-4DB2-BD59-A6C34878D82A}">
                    <a16:rowId xmlns:a16="http://schemas.microsoft.com/office/drawing/2014/main" val="842196702"/>
                  </a:ext>
                </a:extLst>
              </a:tr>
              <a:tr h="424382">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Predictive Score: Ho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Tier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Ho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Notify sales immediate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128018048"/>
                  </a:ext>
                </a:extLst>
              </a:tr>
              <a:tr h="4612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Open Sans" panose="020B0606030504020204" pitchFamily="34" charset="0"/>
                          <a:ea typeface="Open Sans" panose="020B0606030504020204" pitchFamily="34" charset="0"/>
                          <a:cs typeface="Open Sans" panose="020B0606030504020204" pitchFamily="34" charset="0"/>
                        </a:rPr>
                        <a:t>Predictive Score: Ho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Tier 2,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War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Email pushing sales mee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42867146"/>
                  </a:ext>
                </a:extLst>
              </a:tr>
              <a:tr h="5728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Open Sans" panose="020B0606030504020204" pitchFamily="34" charset="0"/>
                          <a:ea typeface="Open Sans" panose="020B0606030504020204" pitchFamily="34" charset="0"/>
                          <a:cs typeface="Open Sans" panose="020B0606030504020204" pitchFamily="34" charset="0"/>
                        </a:rPr>
                        <a:t>Predictive Score: War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Tier 1,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War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Open Sans" panose="020B0606030504020204" pitchFamily="34" charset="0"/>
                          <a:ea typeface="Open Sans" panose="020B0606030504020204" pitchFamily="34" charset="0"/>
                          <a:cs typeface="Open Sans" panose="020B0606030504020204" pitchFamily="34" charset="0"/>
                        </a:rPr>
                        <a:t>Email pushing sales mee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105530605"/>
                  </a:ext>
                </a:extLst>
              </a:tr>
              <a:tr h="450810">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Predictive Score: Col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Tier 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Col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Nurture email ser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999197956"/>
                  </a:ext>
                </a:extLst>
              </a:tr>
            </a:tbl>
          </a:graphicData>
        </a:graphic>
      </p:graphicFrame>
    </p:spTree>
    <p:extLst>
      <p:ext uri="{BB962C8B-B14F-4D97-AF65-F5344CB8AC3E}">
        <p14:creationId xmlns:p14="http://schemas.microsoft.com/office/powerpoint/2010/main" val="2609368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453E0-8ADD-4165-9B2C-09F5AB61ABB9}"/>
              </a:ext>
            </a:extLst>
          </p:cNvPr>
          <p:cNvGraphicFramePr>
            <a:graphicFrameLocks noChangeAspect="1"/>
          </p:cNvGraphicFramePr>
          <p:nvPr>
            <p:custDataLst>
              <p:tags r:id="rId1"/>
            </p:custDataLst>
            <p:extLst>
              <p:ext uri="{D42A27DB-BD31-4B8C-83A1-F6EECF244321}">
                <p14:modId xmlns:p14="http://schemas.microsoft.com/office/powerpoint/2010/main" val="3718091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8A453E0-8ADD-4165-9B2C-09F5AB61A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4" name="Google Shape;404;p52"/>
          <p:cNvSpPr txBox="1">
            <a:spLocks noGrp="1"/>
          </p:cNvSpPr>
          <p:nvPr>
            <p:ph type="body" idx="1"/>
          </p:nvPr>
        </p:nvSpPr>
        <p:spPr>
          <a:xfrm>
            <a:off x="-220862" y="1273968"/>
            <a:ext cx="3104739" cy="2595564"/>
          </a:xfrm>
          <a:prstGeom prst="rect">
            <a:avLst/>
          </a:prstGeom>
        </p:spPr>
        <p:txBody>
          <a:bodyPr spcFirstLastPara="1" wrap="square" lIns="91425" tIns="91425" rIns="91425" bIns="91425" anchor="t" anchorCtr="0">
            <a:normAutofit/>
          </a:bodyPr>
          <a:lstStyle/>
          <a:p>
            <a:pPr marL="800100" lvl="1" indent="-342900">
              <a:buFont typeface="Arial" panose="020B0604020202020204" pitchFamily="34" charset="0"/>
              <a:buChar char="•"/>
            </a:pPr>
            <a:r>
              <a:rPr lang="en-US" sz="2000" dirty="0">
                <a:solidFill>
                  <a:srgbClr val="222222"/>
                </a:solidFill>
                <a:ea typeface="Helvetica Neue Light"/>
              </a:rPr>
              <a:t>Clicks not code</a:t>
            </a:r>
          </a:p>
          <a:p>
            <a:pPr marL="800100" lvl="1" indent="-342900">
              <a:buFont typeface="Arial" panose="020B0604020202020204" pitchFamily="34" charset="0"/>
              <a:buChar char="•"/>
            </a:pPr>
            <a:r>
              <a:rPr lang="en-US" sz="2000" dirty="0">
                <a:solidFill>
                  <a:srgbClr val="222222"/>
                </a:solidFill>
                <a:ea typeface="Helvetica Neue Light"/>
              </a:rPr>
              <a:t>Query in minutes</a:t>
            </a:r>
          </a:p>
          <a:p>
            <a:pPr marL="800100" lvl="1" indent="-342900">
              <a:buFont typeface="Arial" panose="020B0604020202020204" pitchFamily="34" charset="0"/>
              <a:buChar char="•"/>
            </a:pPr>
            <a:r>
              <a:rPr lang="en-US" sz="2000" dirty="0">
                <a:solidFill>
                  <a:srgbClr val="222222"/>
                </a:solidFill>
                <a:ea typeface="Helvetica Neue Light"/>
              </a:rPr>
              <a:t>Easy to update </a:t>
            </a:r>
          </a:p>
          <a:p>
            <a:pPr marL="800100" lvl="1" indent="-342900">
              <a:buFont typeface="Arial" panose="020B0604020202020204" pitchFamily="34" charset="0"/>
              <a:buChar char="•"/>
            </a:pPr>
            <a:r>
              <a:rPr lang="en-US" sz="2000" dirty="0">
                <a:solidFill>
                  <a:srgbClr val="222222"/>
                </a:solidFill>
                <a:ea typeface="Helvetica Neue Light"/>
              </a:rPr>
              <a:t>No SQL</a:t>
            </a:r>
          </a:p>
        </p:txBody>
      </p:sp>
      <p:sp>
        <p:nvSpPr>
          <p:cNvPr id="405" name="Google Shape;405;p52"/>
          <p:cNvSpPr txBox="1">
            <a:spLocks noGrp="1"/>
          </p:cNvSpPr>
          <p:nvPr>
            <p:ph type="title"/>
          </p:nvPr>
        </p:nvSpPr>
        <p:spPr>
          <a:xfrm>
            <a:off x="298475" y="160725"/>
            <a:ext cx="7134900" cy="8550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err="1"/>
              <a:t>Martech</a:t>
            </a:r>
            <a:r>
              <a:rPr lang="en-US" dirty="0"/>
              <a:t> Tools - Automation</a:t>
            </a:r>
            <a:endParaRPr dirty="0"/>
          </a:p>
        </p:txBody>
      </p:sp>
      <p:pic>
        <p:nvPicPr>
          <p:cNvPr id="6" name="Picture 5" descr="Graphical user interface, application&#10;&#10;Description automatically generated">
            <a:extLst>
              <a:ext uri="{FF2B5EF4-FFF2-40B4-BE49-F238E27FC236}">
                <a16:creationId xmlns:a16="http://schemas.microsoft.com/office/drawing/2014/main" id="{D453726F-15D0-42EB-8BAA-940F354D4B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56683" y="1143502"/>
            <a:ext cx="6024246" cy="2856496"/>
          </a:xfrm>
          <a:prstGeom prst="rect">
            <a:avLst/>
          </a:prstGeom>
          <a:ln>
            <a:solidFill>
              <a:schemeClr val="accent1"/>
            </a:solidFill>
          </a:ln>
        </p:spPr>
      </p:pic>
      <p:pic>
        <p:nvPicPr>
          <p:cNvPr id="7" name="Picture 2">
            <a:extLst>
              <a:ext uri="{FF2B5EF4-FFF2-40B4-BE49-F238E27FC236}">
                <a16:creationId xmlns:a16="http://schemas.microsoft.com/office/drawing/2014/main" id="{8B806569-FA38-4E56-AADE-0799BCC332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07947" y="4469778"/>
            <a:ext cx="3172982" cy="512997"/>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04;p52">
            <a:extLst>
              <a:ext uri="{FF2B5EF4-FFF2-40B4-BE49-F238E27FC236}">
                <a16:creationId xmlns:a16="http://schemas.microsoft.com/office/drawing/2014/main" id="{5721E408-24EC-4BAE-BC23-863B6AB96F52}"/>
              </a:ext>
            </a:extLst>
          </p:cNvPr>
          <p:cNvSpPr txBox="1">
            <a:spLocks/>
          </p:cNvSpPr>
          <p:nvPr/>
        </p:nvSpPr>
        <p:spPr>
          <a:xfrm>
            <a:off x="2294322" y="4026825"/>
            <a:ext cx="2083463" cy="416125"/>
          </a:xfrm>
          <a:prstGeom prst="rect">
            <a:avLst/>
          </a:prstGeom>
          <a:noFill/>
          <a:ln>
            <a:noFill/>
          </a:ln>
        </p:spPr>
        <p:txBody>
          <a:bodyPr spcFirstLastPara="1" wrap="square" lIns="91425" tIns="91425" rIns="91425" bIns="91425" anchor="t" anchorCtr="0">
            <a:normAutofit fontScale="92500" lnSpcReduction="20000"/>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1pPr>
            <a:lvl2pPr marL="914400" marR="0" lvl="1"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2pPr>
            <a:lvl3pPr marL="1371600" marR="0" lvl="2"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3pPr>
            <a:lvl4pPr marL="1828800" marR="0" lvl="3"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4pPr>
            <a:lvl5pPr marL="2286000" marR="0" lvl="4"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5pPr>
            <a:lvl6pPr marL="2743200" marR="0" lvl="5"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6pPr>
            <a:lvl7pPr marL="3200400" marR="0" lvl="6"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7pPr>
            <a:lvl8pPr marL="3657600" marR="0" lvl="7"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8pPr>
            <a:lvl9pPr marL="4114800" marR="0" lvl="8" indent="-317500" algn="l" rtl="0">
              <a:lnSpc>
                <a:spcPct val="115000"/>
              </a:lnSpc>
              <a:spcBef>
                <a:spcPts val="0"/>
              </a:spcBef>
              <a:spcAft>
                <a:spcPts val="0"/>
              </a:spcAft>
              <a:buClr>
                <a:schemeClr val="dk2"/>
              </a:buClr>
              <a:buSzPts val="1400"/>
              <a:buFont typeface="Open Sans"/>
              <a:buChar char="■"/>
              <a:defRPr sz="1400" b="0" i="0" u="none" strike="noStrike" cap="none">
                <a:solidFill>
                  <a:schemeClr val="dk2"/>
                </a:solidFill>
                <a:latin typeface="Open Sans"/>
                <a:ea typeface="Open Sans"/>
                <a:cs typeface="Open Sans"/>
                <a:sym typeface="Open Sans"/>
              </a:defRPr>
            </a:lvl9pPr>
          </a:lstStyle>
          <a:p>
            <a:pPr marL="457200" lvl="1" indent="0" algn="ctr">
              <a:buFont typeface="Open Sans"/>
              <a:buNone/>
            </a:pPr>
            <a:r>
              <a:rPr lang="en-US" sz="1600" dirty="0">
                <a:solidFill>
                  <a:srgbClr val="222222"/>
                </a:solidFill>
                <a:ea typeface="Helvetica Neue Light"/>
              </a:rPr>
              <a:t>Danny Kopack</a:t>
            </a:r>
          </a:p>
        </p:txBody>
      </p:sp>
    </p:spTree>
    <p:extLst>
      <p:ext uri="{BB962C8B-B14F-4D97-AF65-F5344CB8AC3E}">
        <p14:creationId xmlns:p14="http://schemas.microsoft.com/office/powerpoint/2010/main" val="4158091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6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033AF3-8D5E-42C6-992A-F15A4B34BE77}"/>
              </a:ext>
            </a:extLst>
          </p:cNvPr>
          <p:cNvGraphicFramePr>
            <a:graphicFrameLocks noChangeAspect="1"/>
          </p:cNvGraphicFramePr>
          <p:nvPr>
            <p:custDataLst>
              <p:tags r:id="rId1"/>
            </p:custDataLst>
            <p:extLst>
              <p:ext uri="{D42A27DB-BD31-4B8C-83A1-F6EECF244321}">
                <p14:modId xmlns:p14="http://schemas.microsoft.com/office/powerpoint/2010/main" val="371759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66033AF3-8D5E-42C6-992A-F15A4B34BE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7" name="Google Shape;367;p47"/>
          <p:cNvSpPr txBox="1">
            <a:spLocks noGrp="1"/>
          </p:cNvSpPr>
          <p:nvPr>
            <p:ph type="title"/>
          </p:nvPr>
        </p:nvSpPr>
        <p:spPr>
          <a:xfrm>
            <a:off x="298475" y="2138375"/>
            <a:ext cx="7864500" cy="1818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The Build</a:t>
            </a:r>
            <a:endParaRPr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3</TotalTime>
  <Words>1023</Words>
  <Application>Microsoft Office PowerPoint</Application>
  <PresentationFormat>On-screen Show (16:9)</PresentationFormat>
  <Paragraphs>309</Paragraphs>
  <Slides>26</Slides>
  <Notes>2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Caveat</vt:lpstr>
      <vt:lpstr>Overpass</vt:lpstr>
      <vt:lpstr>interstate-condensed</vt:lpstr>
      <vt:lpstr>Open Sans</vt:lpstr>
      <vt:lpstr>Simple Light</vt:lpstr>
      <vt:lpstr>think-cell Slide</vt:lpstr>
      <vt:lpstr>PowerPoint Presentation</vt:lpstr>
      <vt:lpstr>Agenda</vt:lpstr>
      <vt:lpstr>Case Study: Overview</vt:lpstr>
      <vt:lpstr>Case Study: Overview</vt:lpstr>
      <vt:lpstr>Case Study: Flow</vt:lpstr>
      <vt:lpstr>Martech Tools - Ranking</vt:lpstr>
      <vt:lpstr>Ranking Overview</vt:lpstr>
      <vt:lpstr>Martech Tools - Automation</vt:lpstr>
      <vt:lpstr>The Build</vt:lpstr>
      <vt:lpstr>Salesforce CRM</vt:lpstr>
      <vt:lpstr>Automation Build</vt:lpstr>
      <vt:lpstr>Automation Build</vt:lpstr>
      <vt:lpstr>Automation Build</vt:lpstr>
      <vt:lpstr>Automation Build</vt:lpstr>
      <vt:lpstr>Journey Build</vt:lpstr>
      <vt:lpstr>Journey Build</vt:lpstr>
      <vt:lpstr>Journey Build</vt:lpstr>
      <vt:lpstr>Journey Build</vt:lpstr>
      <vt:lpstr>Journey Build</vt:lpstr>
      <vt:lpstr>Journey Build</vt:lpstr>
      <vt:lpstr>Content – Hot Lead</vt:lpstr>
      <vt:lpstr>Content – Hot Lead</vt:lpstr>
      <vt:lpstr>Best practices/tips</vt:lpstr>
      <vt:lpstr>Automation tips</vt:lpstr>
      <vt:lpstr>Journey ti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ter, Timothy</dc:creator>
  <cp:lastModifiedBy>Ziter, Timothy</cp:lastModifiedBy>
  <cp:revision>1</cp:revision>
  <dcterms:modified xsi:type="dcterms:W3CDTF">2022-11-02T10:2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11-01T21:15:06Z</vt:lpwstr>
  </property>
  <property fmtid="{D5CDD505-2E9C-101B-9397-08002B2CF9AE}" pid="4" name="MSIP_Label_0e815a84-bb14-486b-9367-c1af54c95fa4_Method">
    <vt:lpwstr>Standar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933b5a9a-548a-46a0-b2d7-4a339a3b3105</vt:lpwstr>
  </property>
  <property fmtid="{D5CDD505-2E9C-101B-9397-08002B2CF9AE}" pid="8" name="MSIP_Label_0e815a84-bb14-486b-9367-c1af54c95fa4_ContentBits">
    <vt:lpwstr>0</vt:lpwstr>
  </property>
</Properties>
</file>